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1.xml" ContentType="application/vnd.openxmlformats-officedocument.presentationml.notesSl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2.xml" ContentType="application/vnd.openxmlformats-officedocument.presentationml.notesSlid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notesSlides/notesSlide3.xml" ContentType="application/vnd.openxmlformats-officedocument.presentationml.notesSlid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notesSlides/notesSlide4.xml" ContentType="application/vnd.openxmlformats-officedocument.presentationml.notesSlid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notesSlides/notesSlide5.xml" ContentType="application/vnd.openxmlformats-officedocument.presentationml.notesSlid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notesSlides/notesSlide6.xml" ContentType="application/vnd.openxmlformats-officedocument.presentationml.notesSlide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notesSlides/notesSlide7.xml" ContentType="application/vnd.openxmlformats-officedocument.presentationml.notesSlide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notesSlides/notesSlide8.xml" ContentType="application/vnd.openxmlformats-officedocument.presentationml.notesSlide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notesSlides/notesSlide9.xml" ContentType="application/vnd.openxmlformats-officedocument.presentationml.notesSlide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notesSlides/notesSlide10.xml" ContentType="application/vnd.openxmlformats-officedocument.presentationml.notesSlide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notesSlides/notesSlide11.xml" ContentType="application/vnd.openxmlformats-officedocument.presentationml.notesSlide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notesSlides/notesSlide12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notesSlides/notesSlide13.xml" ContentType="application/vnd.openxmlformats-officedocument.presentationml.notesSlide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notesSlides/notesSlide14.xml" ContentType="application/vnd.openxmlformats-officedocument.presentationml.notesSlide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notesSlides/notesSlide1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1" r:id="rId2"/>
  </p:sldMasterIdLst>
  <p:notesMasterIdLst>
    <p:notesMasterId r:id="rId19"/>
  </p:notesMasterIdLst>
  <p:sldIdLst>
    <p:sldId id="257" r:id="rId3"/>
    <p:sldId id="262" r:id="rId4"/>
    <p:sldId id="271" r:id="rId5"/>
    <p:sldId id="259" r:id="rId6"/>
    <p:sldId id="260" r:id="rId7"/>
    <p:sldId id="261" r:id="rId8"/>
    <p:sldId id="272" r:id="rId9"/>
    <p:sldId id="264" r:id="rId10"/>
    <p:sldId id="273" r:id="rId11"/>
    <p:sldId id="274" r:id="rId12"/>
    <p:sldId id="266" r:id="rId13"/>
    <p:sldId id="265" r:id="rId14"/>
    <p:sldId id="267" r:id="rId15"/>
    <p:sldId id="263" r:id="rId16"/>
    <p:sldId id="270" r:id="rId17"/>
    <p:sldId id="275" r:id="rId18"/>
  </p:sldIdLst>
  <p:sldSz cx="12192000" cy="6858000"/>
  <p:notesSz cx="6858000" cy="9144000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Скорнякова Светлана Борисовна" initials="ССБ" lastIdx="0" clrIdx="0">
    <p:extLst>
      <p:ext uri="{19B8F6BF-5375-455C-9EA6-DF929625EA0E}">
        <p15:presenceInfo xmlns:p15="http://schemas.microsoft.com/office/powerpoint/2012/main" userId="S-1-5-21-2840156318-1036014799-2743373321-42780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AB622"/>
    <a:srgbClr val="DCC69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995" autoAdjust="0"/>
    <p:restoredTop sz="96469" autoAdjust="0"/>
  </p:normalViewPr>
  <p:slideViewPr>
    <p:cSldViewPr snapToGrid="0">
      <p:cViewPr varScale="1">
        <p:scale>
          <a:sx n="104" d="100"/>
          <a:sy n="104" d="100"/>
        </p:scale>
        <p:origin x="168" y="180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3" Type="http://schemas.openxmlformats.org/officeDocument/2006/relationships/slide" Target="slides/slide1.xml"/><Relationship Id="rId21" Type="http://schemas.openxmlformats.org/officeDocument/2006/relationships/presProps" Target="presProps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commentAuthors" Target="commentAuthor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tableStyles" Target="tableStyle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theme" Target="theme/theme1.xml"/><Relationship Id="rId10" Type="http://schemas.openxmlformats.org/officeDocument/2006/relationships/slide" Target="slides/slide8.xml"/><Relationship Id="rId19" Type="http://schemas.openxmlformats.org/officeDocument/2006/relationships/notesMaster" Target="notesMasters/notesMaster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viewProps" Target="viewProp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058C9D54-D5F7-4D6D-A2B6-3F171D7E7FF9}" type="doc">
      <dgm:prSet loTypeId="urn:microsoft.com/office/officeart/2005/8/layout/chevron1" loCatId="process" qsTypeId="urn:microsoft.com/office/officeart/2005/8/quickstyle/simple1" qsCatId="simple" csTypeId="urn:microsoft.com/office/officeart/2005/8/colors/accent1_2" csCatId="accent1" phldr="1"/>
      <dgm:spPr/>
    </dgm:pt>
    <dgm:pt modelId="{10A0705E-E955-495C-997F-2DF38B5DFA93}">
      <dgm:prSet phldrT="[Текст]" custT="1"/>
      <dgm:spPr>
        <a:solidFill>
          <a:schemeClr val="bg2">
            <a:lumMod val="40000"/>
            <a:lumOff val="60000"/>
          </a:schemeClr>
        </a:solidFill>
        <a:scene3d>
          <a:camera prst="orthographicFront"/>
          <a:lightRig rig="threePt" dir="t"/>
        </a:scene3d>
        <a:sp3d>
          <a:bevelT prst="relaxedInset"/>
        </a:sp3d>
      </dgm:spPr>
      <dgm:t>
        <a:bodyPr/>
        <a:lstStyle/>
        <a:p>
          <a:r>
            <a:rPr lang="ru-RU" sz="1600" b="1" dirty="0" smtClean="0">
              <a:solidFill>
                <a:schemeClr val="tx1"/>
              </a:solidFill>
            </a:rPr>
            <a:t>Руководитель ЦФО</a:t>
          </a:r>
          <a:endParaRPr lang="ru-RU" sz="1600" b="1" dirty="0">
            <a:solidFill>
              <a:schemeClr val="tx1"/>
            </a:solidFill>
          </a:endParaRPr>
        </a:p>
      </dgm:t>
    </dgm:pt>
    <dgm:pt modelId="{82545511-0A3E-4BED-8E9F-43E8D6F95BBD}" type="parTrans" cxnId="{C913C140-84DD-4C23-8818-D18446CAD838}">
      <dgm:prSet/>
      <dgm:spPr/>
      <dgm:t>
        <a:bodyPr/>
        <a:lstStyle/>
        <a:p>
          <a:endParaRPr lang="ru-RU" sz="1050"/>
        </a:p>
      </dgm:t>
    </dgm:pt>
    <dgm:pt modelId="{F5C2F3DF-6DCC-4A26-BE64-0436CE60F25D}" type="sibTrans" cxnId="{C913C140-84DD-4C23-8818-D18446CAD838}">
      <dgm:prSet/>
      <dgm:spPr/>
      <dgm:t>
        <a:bodyPr/>
        <a:lstStyle/>
        <a:p>
          <a:endParaRPr lang="ru-RU" sz="1050"/>
        </a:p>
      </dgm:t>
    </dgm:pt>
    <dgm:pt modelId="{0AB697C2-1C46-4FC0-BA39-B1C5CE1F8B29}">
      <dgm:prSet phldrT="[Текст]" custT="1"/>
      <dgm:spPr>
        <a:solidFill>
          <a:schemeClr val="bg2">
            <a:lumMod val="40000"/>
            <a:lumOff val="60000"/>
          </a:schemeClr>
        </a:solidFill>
        <a:scene3d>
          <a:camera prst="orthographicFront"/>
          <a:lightRig rig="threePt" dir="t"/>
        </a:scene3d>
        <a:sp3d>
          <a:bevelT prst="relaxedInset"/>
        </a:sp3d>
      </dgm:spPr>
      <dgm:t>
        <a:bodyPr/>
        <a:lstStyle/>
        <a:p>
          <a:r>
            <a:rPr lang="ru-RU" sz="1600" b="1" dirty="0" smtClean="0">
              <a:solidFill>
                <a:schemeClr val="tx1"/>
              </a:solidFill>
            </a:rPr>
            <a:t>Экономист</a:t>
          </a:r>
          <a:endParaRPr lang="ru-RU" sz="1600" b="1" dirty="0">
            <a:solidFill>
              <a:schemeClr val="tx1"/>
            </a:solidFill>
          </a:endParaRPr>
        </a:p>
      </dgm:t>
    </dgm:pt>
    <dgm:pt modelId="{E7F35F40-85D8-4EAB-9643-685121D0FC53}" type="parTrans" cxnId="{5AF07121-39DA-488A-A677-6145FD085CF5}">
      <dgm:prSet/>
      <dgm:spPr/>
      <dgm:t>
        <a:bodyPr/>
        <a:lstStyle/>
        <a:p>
          <a:endParaRPr lang="ru-RU" sz="1050"/>
        </a:p>
      </dgm:t>
    </dgm:pt>
    <dgm:pt modelId="{480F0CEA-725C-4FF0-B2F7-BC821FE04313}" type="sibTrans" cxnId="{5AF07121-39DA-488A-A677-6145FD085CF5}">
      <dgm:prSet/>
      <dgm:spPr/>
      <dgm:t>
        <a:bodyPr/>
        <a:lstStyle/>
        <a:p>
          <a:endParaRPr lang="ru-RU" sz="1050"/>
        </a:p>
      </dgm:t>
    </dgm:pt>
    <dgm:pt modelId="{9F0116B2-9D06-454E-8C15-A6D4B40302C6}">
      <dgm:prSet phldrT="[Текст]" custT="1"/>
      <dgm:spPr>
        <a:solidFill>
          <a:schemeClr val="bg2">
            <a:lumMod val="40000"/>
            <a:lumOff val="60000"/>
          </a:schemeClr>
        </a:solidFill>
        <a:scene3d>
          <a:camera prst="orthographicFront"/>
          <a:lightRig rig="threePt" dir="t"/>
        </a:scene3d>
        <a:sp3d>
          <a:bevelT prst="relaxedInset"/>
        </a:sp3d>
      </dgm:spPr>
      <dgm:t>
        <a:bodyPr/>
        <a:lstStyle/>
        <a:p>
          <a:r>
            <a:rPr lang="ru-RU" sz="1600" b="1" dirty="0" smtClean="0">
              <a:solidFill>
                <a:schemeClr val="tx1"/>
              </a:solidFill>
            </a:rPr>
            <a:t>Бухгалтер</a:t>
          </a:r>
          <a:endParaRPr lang="ru-RU" sz="1600" b="1" dirty="0">
            <a:solidFill>
              <a:schemeClr val="tx1"/>
            </a:solidFill>
          </a:endParaRPr>
        </a:p>
      </dgm:t>
    </dgm:pt>
    <dgm:pt modelId="{8C464F1C-B9CC-4E36-AE99-5D476C690C41}" type="parTrans" cxnId="{A675D6D5-7E6C-486C-AEB7-E29ADBCA75D2}">
      <dgm:prSet/>
      <dgm:spPr/>
      <dgm:t>
        <a:bodyPr/>
        <a:lstStyle/>
        <a:p>
          <a:endParaRPr lang="ru-RU" sz="1050"/>
        </a:p>
      </dgm:t>
    </dgm:pt>
    <dgm:pt modelId="{78EBEEE8-2F18-4CC8-862B-6C42709BA4B1}" type="sibTrans" cxnId="{A675D6D5-7E6C-486C-AEB7-E29ADBCA75D2}">
      <dgm:prSet/>
      <dgm:spPr/>
      <dgm:t>
        <a:bodyPr/>
        <a:lstStyle/>
        <a:p>
          <a:endParaRPr lang="ru-RU" sz="1050"/>
        </a:p>
      </dgm:t>
    </dgm:pt>
    <dgm:pt modelId="{4C0B0B10-F5DA-498B-AA75-DFBD8EABC7E5}">
      <dgm:prSet custT="1"/>
      <dgm:spPr>
        <a:solidFill>
          <a:schemeClr val="bg2">
            <a:lumMod val="40000"/>
            <a:lumOff val="60000"/>
          </a:schemeClr>
        </a:solidFill>
        <a:scene3d>
          <a:camera prst="orthographicFront"/>
          <a:lightRig rig="threePt" dir="t"/>
        </a:scene3d>
        <a:sp3d>
          <a:bevelT prst="relaxedInset"/>
        </a:sp3d>
      </dgm:spPr>
      <dgm:t>
        <a:bodyPr/>
        <a:lstStyle/>
        <a:p>
          <a:r>
            <a:rPr lang="ru-RU" sz="1600" b="1" dirty="0" smtClean="0">
              <a:solidFill>
                <a:schemeClr val="tx1"/>
              </a:solidFill>
            </a:rPr>
            <a:t>Фин. контролер</a:t>
          </a:r>
          <a:endParaRPr lang="ru-RU" sz="1600" b="1" dirty="0">
            <a:solidFill>
              <a:schemeClr val="tx1"/>
            </a:solidFill>
          </a:endParaRPr>
        </a:p>
      </dgm:t>
    </dgm:pt>
    <dgm:pt modelId="{87DD7783-75C9-4698-92EF-0A3EEF82C59D}" type="parTrans" cxnId="{9F572C99-01EE-4870-8170-5D8F21A0F112}">
      <dgm:prSet/>
      <dgm:spPr/>
      <dgm:t>
        <a:bodyPr/>
        <a:lstStyle/>
        <a:p>
          <a:endParaRPr lang="ru-RU" sz="2400"/>
        </a:p>
      </dgm:t>
    </dgm:pt>
    <dgm:pt modelId="{A12D79BE-C20F-443F-B91F-D4A734C5F7CC}" type="sibTrans" cxnId="{9F572C99-01EE-4870-8170-5D8F21A0F112}">
      <dgm:prSet/>
      <dgm:spPr/>
      <dgm:t>
        <a:bodyPr/>
        <a:lstStyle/>
        <a:p>
          <a:endParaRPr lang="ru-RU" sz="2400"/>
        </a:p>
      </dgm:t>
    </dgm:pt>
    <dgm:pt modelId="{D1DE7758-12D4-4A4C-99BF-D97CE02D62BE}" type="pres">
      <dgm:prSet presAssocID="{058C9D54-D5F7-4D6D-A2B6-3F171D7E7FF9}" presName="Name0" presStyleCnt="0">
        <dgm:presLayoutVars>
          <dgm:dir/>
          <dgm:animLvl val="lvl"/>
          <dgm:resizeHandles val="exact"/>
        </dgm:presLayoutVars>
      </dgm:prSet>
      <dgm:spPr/>
    </dgm:pt>
    <dgm:pt modelId="{B95CEEF2-F769-49BA-9F50-C6D9C73FE2BF}" type="pres">
      <dgm:prSet presAssocID="{10A0705E-E955-495C-997F-2DF38B5DFA93}" presName="parTxOnly" presStyleLbl="node1" presStyleIdx="0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86E23AC8-91E5-480F-9321-01A8897DFBD4}" type="pres">
      <dgm:prSet presAssocID="{F5C2F3DF-6DCC-4A26-BE64-0436CE60F25D}" presName="parTxOnlySpace" presStyleCnt="0"/>
      <dgm:spPr>
        <a:scene3d>
          <a:camera prst="orthographicFront"/>
          <a:lightRig rig="threePt" dir="t"/>
        </a:scene3d>
        <a:sp3d>
          <a:bevelT prst="relaxedInset"/>
        </a:sp3d>
      </dgm:spPr>
    </dgm:pt>
    <dgm:pt modelId="{7BA0359E-D232-4C30-B7AB-C2DF9515A45E}" type="pres">
      <dgm:prSet presAssocID="{0AB697C2-1C46-4FC0-BA39-B1C5CE1F8B29}" presName="parTxOnly" presStyleLbl="node1" presStyleIdx="1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1BBC3375-FA7D-4097-8A8D-7034DD5AAA7C}" type="pres">
      <dgm:prSet presAssocID="{480F0CEA-725C-4FF0-B2F7-BC821FE04313}" presName="parTxOnlySpace" presStyleCnt="0"/>
      <dgm:spPr>
        <a:scene3d>
          <a:camera prst="orthographicFront"/>
          <a:lightRig rig="threePt" dir="t"/>
        </a:scene3d>
        <a:sp3d>
          <a:bevelT prst="relaxedInset"/>
        </a:sp3d>
      </dgm:spPr>
    </dgm:pt>
    <dgm:pt modelId="{3D0DF0AF-4727-4DA8-BDA0-2AF8A062B9DD}" type="pres">
      <dgm:prSet presAssocID="{9F0116B2-9D06-454E-8C15-A6D4B40302C6}" presName="parTxOnly" presStyleLbl="node1" presStyleIdx="2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492E3488-566B-49DF-8D20-D1C51B7DCB0B}" type="pres">
      <dgm:prSet presAssocID="{78EBEEE8-2F18-4CC8-862B-6C42709BA4B1}" presName="parTxOnlySpace" presStyleCnt="0"/>
      <dgm:spPr>
        <a:scene3d>
          <a:camera prst="orthographicFront"/>
          <a:lightRig rig="threePt" dir="t"/>
        </a:scene3d>
        <a:sp3d>
          <a:bevelT prst="relaxedInset"/>
        </a:sp3d>
      </dgm:spPr>
    </dgm:pt>
    <dgm:pt modelId="{8954BEA6-80AE-481E-83BE-20E6E7598F9D}" type="pres">
      <dgm:prSet presAssocID="{4C0B0B10-F5DA-498B-AA75-DFBD8EABC7E5}" presName="parTxOnly" presStyleLbl="node1" presStyleIdx="3" presStyleCnt="4" custLinFactX="5754" custLinFactNeighborX="100000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A675D6D5-7E6C-486C-AEB7-E29ADBCA75D2}" srcId="{058C9D54-D5F7-4D6D-A2B6-3F171D7E7FF9}" destId="{9F0116B2-9D06-454E-8C15-A6D4B40302C6}" srcOrd="2" destOrd="0" parTransId="{8C464F1C-B9CC-4E36-AE99-5D476C690C41}" sibTransId="{78EBEEE8-2F18-4CC8-862B-6C42709BA4B1}"/>
    <dgm:cxn modelId="{9F572C99-01EE-4870-8170-5D8F21A0F112}" srcId="{058C9D54-D5F7-4D6D-A2B6-3F171D7E7FF9}" destId="{4C0B0B10-F5DA-498B-AA75-DFBD8EABC7E5}" srcOrd="3" destOrd="0" parTransId="{87DD7783-75C9-4698-92EF-0A3EEF82C59D}" sibTransId="{A12D79BE-C20F-443F-B91F-D4A734C5F7CC}"/>
    <dgm:cxn modelId="{5AF07121-39DA-488A-A677-6145FD085CF5}" srcId="{058C9D54-D5F7-4D6D-A2B6-3F171D7E7FF9}" destId="{0AB697C2-1C46-4FC0-BA39-B1C5CE1F8B29}" srcOrd="1" destOrd="0" parTransId="{E7F35F40-85D8-4EAB-9643-685121D0FC53}" sibTransId="{480F0CEA-725C-4FF0-B2F7-BC821FE04313}"/>
    <dgm:cxn modelId="{F328DDFD-A27E-472A-A63B-ED8BC310D827}" type="presOf" srcId="{058C9D54-D5F7-4D6D-A2B6-3F171D7E7FF9}" destId="{D1DE7758-12D4-4A4C-99BF-D97CE02D62BE}" srcOrd="0" destOrd="0" presId="urn:microsoft.com/office/officeart/2005/8/layout/chevron1"/>
    <dgm:cxn modelId="{A97FABF8-D82D-45E5-AEBB-4EE98E15A899}" type="presOf" srcId="{4C0B0B10-F5DA-498B-AA75-DFBD8EABC7E5}" destId="{8954BEA6-80AE-481E-83BE-20E6E7598F9D}" srcOrd="0" destOrd="0" presId="urn:microsoft.com/office/officeart/2005/8/layout/chevron1"/>
    <dgm:cxn modelId="{DAEB15AA-D723-4694-B71D-1A208CFA24C4}" type="presOf" srcId="{9F0116B2-9D06-454E-8C15-A6D4B40302C6}" destId="{3D0DF0AF-4727-4DA8-BDA0-2AF8A062B9DD}" srcOrd="0" destOrd="0" presId="urn:microsoft.com/office/officeart/2005/8/layout/chevron1"/>
    <dgm:cxn modelId="{AC27B6B1-3499-4DF0-A8A6-ACDD6F4A7B91}" type="presOf" srcId="{0AB697C2-1C46-4FC0-BA39-B1C5CE1F8B29}" destId="{7BA0359E-D232-4C30-B7AB-C2DF9515A45E}" srcOrd="0" destOrd="0" presId="urn:microsoft.com/office/officeart/2005/8/layout/chevron1"/>
    <dgm:cxn modelId="{6BD57933-D3FE-4EFD-AF09-4CEFB5017460}" type="presOf" srcId="{10A0705E-E955-495C-997F-2DF38B5DFA93}" destId="{B95CEEF2-F769-49BA-9F50-C6D9C73FE2BF}" srcOrd="0" destOrd="0" presId="urn:microsoft.com/office/officeart/2005/8/layout/chevron1"/>
    <dgm:cxn modelId="{C913C140-84DD-4C23-8818-D18446CAD838}" srcId="{058C9D54-D5F7-4D6D-A2B6-3F171D7E7FF9}" destId="{10A0705E-E955-495C-997F-2DF38B5DFA93}" srcOrd="0" destOrd="0" parTransId="{82545511-0A3E-4BED-8E9F-43E8D6F95BBD}" sibTransId="{F5C2F3DF-6DCC-4A26-BE64-0436CE60F25D}"/>
    <dgm:cxn modelId="{1AA32F9B-F91C-46EE-9ED7-474B376AC1D4}" type="presParOf" srcId="{D1DE7758-12D4-4A4C-99BF-D97CE02D62BE}" destId="{B95CEEF2-F769-49BA-9F50-C6D9C73FE2BF}" srcOrd="0" destOrd="0" presId="urn:microsoft.com/office/officeart/2005/8/layout/chevron1"/>
    <dgm:cxn modelId="{A56E8DCE-9192-44A6-8A83-C469384B2670}" type="presParOf" srcId="{D1DE7758-12D4-4A4C-99BF-D97CE02D62BE}" destId="{86E23AC8-91E5-480F-9321-01A8897DFBD4}" srcOrd="1" destOrd="0" presId="urn:microsoft.com/office/officeart/2005/8/layout/chevron1"/>
    <dgm:cxn modelId="{60BB8735-2E84-4744-9166-B842ADDF5B56}" type="presParOf" srcId="{D1DE7758-12D4-4A4C-99BF-D97CE02D62BE}" destId="{7BA0359E-D232-4C30-B7AB-C2DF9515A45E}" srcOrd="2" destOrd="0" presId="urn:microsoft.com/office/officeart/2005/8/layout/chevron1"/>
    <dgm:cxn modelId="{C0E218C1-8C9B-4086-9774-5D2B040EA56E}" type="presParOf" srcId="{D1DE7758-12D4-4A4C-99BF-D97CE02D62BE}" destId="{1BBC3375-FA7D-4097-8A8D-7034DD5AAA7C}" srcOrd="3" destOrd="0" presId="urn:microsoft.com/office/officeart/2005/8/layout/chevron1"/>
    <dgm:cxn modelId="{2963A3AD-B228-4DF3-B1B3-9FD229447629}" type="presParOf" srcId="{D1DE7758-12D4-4A4C-99BF-D97CE02D62BE}" destId="{3D0DF0AF-4727-4DA8-BDA0-2AF8A062B9DD}" srcOrd="4" destOrd="0" presId="urn:microsoft.com/office/officeart/2005/8/layout/chevron1"/>
    <dgm:cxn modelId="{0821BE99-8981-45A7-A928-86EA5589712E}" type="presParOf" srcId="{D1DE7758-12D4-4A4C-99BF-D97CE02D62BE}" destId="{492E3488-566B-49DF-8D20-D1C51B7DCB0B}" srcOrd="5" destOrd="0" presId="urn:microsoft.com/office/officeart/2005/8/layout/chevron1"/>
    <dgm:cxn modelId="{9542EB30-D299-4081-ACDC-9081BBFB8848}" type="presParOf" srcId="{D1DE7758-12D4-4A4C-99BF-D97CE02D62BE}" destId="{8954BEA6-80AE-481E-83BE-20E6E7598F9D}" srcOrd="6" destOrd="0" presId="urn:microsoft.com/office/officeart/2005/8/layout/chevron1"/>
  </dgm:cxnLst>
  <dgm:bg>
    <a:noFill/>
  </dgm:bg>
  <dgm:whole/>
  <dgm:extLst>
    <a:ext uri="http://schemas.microsoft.com/office/drawing/2008/diagram">
      <dsp:dataModelExt xmlns:dsp="http://schemas.microsoft.com/office/drawing/2008/diagram" relId="rId12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058C9D54-D5F7-4D6D-A2B6-3F171D7E7FF9}" type="doc">
      <dgm:prSet loTypeId="urn:microsoft.com/office/officeart/2005/8/layout/chevron1" loCatId="process" qsTypeId="urn:microsoft.com/office/officeart/2005/8/quickstyle/simple1" qsCatId="simple" csTypeId="urn:microsoft.com/office/officeart/2005/8/colors/accent1_2" csCatId="accent1" phldr="1"/>
      <dgm:spPr/>
    </dgm:pt>
    <dgm:pt modelId="{10A0705E-E955-495C-997F-2DF38B5DFA93}">
      <dgm:prSet phldrT="[Текст]" custT="1"/>
      <dgm:spPr>
        <a:solidFill>
          <a:schemeClr val="bg2">
            <a:lumMod val="40000"/>
            <a:lumOff val="60000"/>
          </a:schemeClr>
        </a:solidFill>
        <a:scene3d>
          <a:camera prst="orthographicFront"/>
          <a:lightRig rig="threePt" dir="t"/>
        </a:scene3d>
        <a:sp3d>
          <a:bevelT prst="relaxedInset"/>
        </a:sp3d>
      </dgm:spPr>
      <dgm:t>
        <a:bodyPr/>
        <a:lstStyle/>
        <a:p>
          <a:r>
            <a:rPr lang="ru-RU" sz="1600" b="1" dirty="0" smtClean="0">
              <a:solidFill>
                <a:schemeClr val="tx1"/>
              </a:solidFill>
            </a:rPr>
            <a:t>Директор по </a:t>
          </a:r>
          <a:r>
            <a:rPr lang="ru-RU" sz="1600" b="1" dirty="0" err="1" smtClean="0">
              <a:solidFill>
                <a:schemeClr val="tx1"/>
              </a:solidFill>
            </a:rPr>
            <a:t>ЭиФ</a:t>
          </a:r>
          <a:r>
            <a:rPr lang="ru-RU" sz="1600" b="1" dirty="0" smtClean="0">
              <a:solidFill>
                <a:schemeClr val="tx1"/>
              </a:solidFill>
            </a:rPr>
            <a:t> (ДЗО)</a:t>
          </a:r>
          <a:endParaRPr lang="ru-RU" sz="1600" b="1" dirty="0">
            <a:solidFill>
              <a:schemeClr val="tx1"/>
            </a:solidFill>
          </a:endParaRPr>
        </a:p>
      </dgm:t>
    </dgm:pt>
    <dgm:pt modelId="{82545511-0A3E-4BED-8E9F-43E8D6F95BBD}" type="parTrans" cxnId="{C913C140-84DD-4C23-8818-D18446CAD838}">
      <dgm:prSet/>
      <dgm:spPr/>
      <dgm:t>
        <a:bodyPr/>
        <a:lstStyle/>
        <a:p>
          <a:endParaRPr lang="ru-RU" sz="1050"/>
        </a:p>
      </dgm:t>
    </dgm:pt>
    <dgm:pt modelId="{F5C2F3DF-6DCC-4A26-BE64-0436CE60F25D}" type="sibTrans" cxnId="{C913C140-84DD-4C23-8818-D18446CAD838}">
      <dgm:prSet/>
      <dgm:spPr/>
      <dgm:t>
        <a:bodyPr/>
        <a:lstStyle/>
        <a:p>
          <a:endParaRPr lang="ru-RU" sz="1050"/>
        </a:p>
      </dgm:t>
    </dgm:pt>
    <dgm:pt modelId="{0AB697C2-1C46-4FC0-BA39-B1C5CE1F8B29}">
      <dgm:prSet phldrT="[Текст]" custT="1"/>
      <dgm:spPr>
        <a:solidFill>
          <a:schemeClr val="bg2">
            <a:lumMod val="40000"/>
            <a:lumOff val="60000"/>
          </a:schemeClr>
        </a:solidFill>
        <a:scene3d>
          <a:camera prst="orthographicFront"/>
          <a:lightRig rig="threePt" dir="t"/>
        </a:scene3d>
        <a:sp3d>
          <a:bevelT prst="relaxedInset"/>
        </a:sp3d>
      </dgm:spPr>
      <dgm:t>
        <a:bodyPr/>
        <a:lstStyle/>
        <a:p>
          <a:r>
            <a:rPr lang="ru-RU" sz="1600" b="1" dirty="0" smtClean="0">
              <a:solidFill>
                <a:schemeClr val="tx1"/>
              </a:solidFill>
            </a:rPr>
            <a:t>Казначей УК</a:t>
          </a:r>
          <a:endParaRPr lang="ru-RU" sz="1600" b="1" dirty="0">
            <a:solidFill>
              <a:schemeClr val="tx1"/>
            </a:solidFill>
          </a:endParaRPr>
        </a:p>
      </dgm:t>
    </dgm:pt>
    <dgm:pt modelId="{E7F35F40-85D8-4EAB-9643-685121D0FC53}" type="parTrans" cxnId="{5AF07121-39DA-488A-A677-6145FD085CF5}">
      <dgm:prSet/>
      <dgm:spPr/>
      <dgm:t>
        <a:bodyPr/>
        <a:lstStyle/>
        <a:p>
          <a:endParaRPr lang="ru-RU" sz="1050"/>
        </a:p>
      </dgm:t>
    </dgm:pt>
    <dgm:pt modelId="{480F0CEA-725C-4FF0-B2F7-BC821FE04313}" type="sibTrans" cxnId="{5AF07121-39DA-488A-A677-6145FD085CF5}">
      <dgm:prSet/>
      <dgm:spPr/>
      <dgm:t>
        <a:bodyPr/>
        <a:lstStyle/>
        <a:p>
          <a:endParaRPr lang="ru-RU" sz="1050"/>
        </a:p>
      </dgm:t>
    </dgm:pt>
    <dgm:pt modelId="{9F0116B2-9D06-454E-8C15-A6D4B40302C6}">
      <dgm:prSet phldrT="[Текст]" custT="1"/>
      <dgm:spPr>
        <a:solidFill>
          <a:schemeClr val="bg2">
            <a:lumMod val="40000"/>
            <a:lumOff val="60000"/>
          </a:schemeClr>
        </a:solidFill>
        <a:scene3d>
          <a:camera prst="orthographicFront"/>
          <a:lightRig rig="threePt" dir="t"/>
        </a:scene3d>
        <a:sp3d>
          <a:bevelT prst="relaxedInset"/>
        </a:sp3d>
      </dgm:spPr>
      <dgm:t>
        <a:bodyPr/>
        <a:lstStyle/>
        <a:p>
          <a:pPr marL="0" marR="0" lvl="0" indent="0" defTabSz="914400" eaLnBrk="1" fontAlgn="auto" latinLnBrk="0" hangingPunct="1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ru-RU" sz="1600" b="1" dirty="0" smtClean="0">
              <a:solidFill>
                <a:schemeClr val="tx1"/>
              </a:solidFill>
            </a:rPr>
            <a:t>Директор ДЗО</a:t>
          </a:r>
        </a:p>
      </dgm:t>
    </dgm:pt>
    <dgm:pt modelId="{8C464F1C-B9CC-4E36-AE99-5D476C690C41}" type="parTrans" cxnId="{A675D6D5-7E6C-486C-AEB7-E29ADBCA75D2}">
      <dgm:prSet/>
      <dgm:spPr/>
      <dgm:t>
        <a:bodyPr/>
        <a:lstStyle/>
        <a:p>
          <a:endParaRPr lang="ru-RU" sz="1050"/>
        </a:p>
      </dgm:t>
    </dgm:pt>
    <dgm:pt modelId="{78EBEEE8-2F18-4CC8-862B-6C42709BA4B1}" type="sibTrans" cxnId="{A675D6D5-7E6C-486C-AEB7-E29ADBCA75D2}">
      <dgm:prSet/>
      <dgm:spPr/>
      <dgm:t>
        <a:bodyPr/>
        <a:lstStyle/>
        <a:p>
          <a:endParaRPr lang="ru-RU" sz="1050"/>
        </a:p>
      </dgm:t>
    </dgm:pt>
    <dgm:pt modelId="{4C0B0B10-F5DA-498B-AA75-DFBD8EABC7E5}">
      <dgm:prSet custT="1"/>
      <dgm:spPr>
        <a:solidFill>
          <a:schemeClr val="bg2">
            <a:lumMod val="40000"/>
            <a:lumOff val="60000"/>
          </a:schemeClr>
        </a:solidFill>
        <a:scene3d>
          <a:camera prst="orthographicFront"/>
          <a:lightRig rig="threePt" dir="t"/>
        </a:scene3d>
        <a:sp3d>
          <a:bevelT prst="relaxedInset"/>
        </a:sp3d>
      </dgm:spPr>
      <dgm:t>
        <a:bodyPr/>
        <a:lstStyle/>
        <a:p>
          <a:r>
            <a:rPr lang="ru-RU" sz="1600" b="1" dirty="0" smtClean="0">
              <a:solidFill>
                <a:schemeClr val="tx1"/>
              </a:solidFill>
            </a:rPr>
            <a:t>Руководитель ЕРЦ</a:t>
          </a:r>
          <a:endParaRPr lang="ru-RU" sz="1600" b="1" dirty="0">
            <a:solidFill>
              <a:schemeClr val="tx1"/>
            </a:solidFill>
          </a:endParaRPr>
        </a:p>
      </dgm:t>
    </dgm:pt>
    <dgm:pt modelId="{87DD7783-75C9-4698-92EF-0A3EEF82C59D}" type="parTrans" cxnId="{9F572C99-01EE-4870-8170-5D8F21A0F112}">
      <dgm:prSet/>
      <dgm:spPr/>
      <dgm:t>
        <a:bodyPr/>
        <a:lstStyle/>
        <a:p>
          <a:endParaRPr lang="ru-RU" sz="2400"/>
        </a:p>
      </dgm:t>
    </dgm:pt>
    <dgm:pt modelId="{A12D79BE-C20F-443F-B91F-D4A734C5F7CC}" type="sibTrans" cxnId="{9F572C99-01EE-4870-8170-5D8F21A0F112}">
      <dgm:prSet/>
      <dgm:spPr/>
      <dgm:t>
        <a:bodyPr/>
        <a:lstStyle/>
        <a:p>
          <a:endParaRPr lang="ru-RU" sz="2400"/>
        </a:p>
      </dgm:t>
    </dgm:pt>
    <dgm:pt modelId="{D1DE7758-12D4-4A4C-99BF-D97CE02D62BE}" type="pres">
      <dgm:prSet presAssocID="{058C9D54-D5F7-4D6D-A2B6-3F171D7E7FF9}" presName="Name0" presStyleCnt="0">
        <dgm:presLayoutVars>
          <dgm:dir/>
          <dgm:animLvl val="lvl"/>
          <dgm:resizeHandles val="exact"/>
        </dgm:presLayoutVars>
      </dgm:prSet>
      <dgm:spPr/>
    </dgm:pt>
    <dgm:pt modelId="{B95CEEF2-F769-49BA-9F50-C6D9C73FE2BF}" type="pres">
      <dgm:prSet presAssocID="{10A0705E-E955-495C-997F-2DF38B5DFA93}" presName="parTxOnly" presStyleLbl="node1" presStyleIdx="0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86E23AC8-91E5-480F-9321-01A8897DFBD4}" type="pres">
      <dgm:prSet presAssocID="{F5C2F3DF-6DCC-4A26-BE64-0436CE60F25D}" presName="parTxOnlySpace" presStyleCnt="0"/>
      <dgm:spPr>
        <a:scene3d>
          <a:camera prst="orthographicFront"/>
          <a:lightRig rig="threePt" dir="t"/>
        </a:scene3d>
        <a:sp3d>
          <a:bevelT prst="relaxedInset"/>
        </a:sp3d>
      </dgm:spPr>
    </dgm:pt>
    <dgm:pt modelId="{7BA0359E-D232-4C30-B7AB-C2DF9515A45E}" type="pres">
      <dgm:prSet presAssocID="{0AB697C2-1C46-4FC0-BA39-B1C5CE1F8B29}" presName="parTxOnly" presStyleLbl="node1" presStyleIdx="1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1BBC3375-FA7D-4097-8A8D-7034DD5AAA7C}" type="pres">
      <dgm:prSet presAssocID="{480F0CEA-725C-4FF0-B2F7-BC821FE04313}" presName="parTxOnlySpace" presStyleCnt="0"/>
      <dgm:spPr>
        <a:scene3d>
          <a:camera prst="orthographicFront"/>
          <a:lightRig rig="threePt" dir="t"/>
        </a:scene3d>
        <a:sp3d>
          <a:bevelT prst="relaxedInset"/>
        </a:sp3d>
      </dgm:spPr>
    </dgm:pt>
    <dgm:pt modelId="{3D0DF0AF-4727-4DA8-BDA0-2AF8A062B9DD}" type="pres">
      <dgm:prSet presAssocID="{9F0116B2-9D06-454E-8C15-A6D4B40302C6}" presName="parTxOnly" presStyleLbl="node1" presStyleIdx="2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492E3488-566B-49DF-8D20-D1C51B7DCB0B}" type="pres">
      <dgm:prSet presAssocID="{78EBEEE8-2F18-4CC8-862B-6C42709BA4B1}" presName="parTxOnlySpace" presStyleCnt="0"/>
      <dgm:spPr>
        <a:scene3d>
          <a:camera prst="orthographicFront"/>
          <a:lightRig rig="threePt" dir="t"/>
        </a:scene3d>
        <a:sp3d>
          <a:bevelT prst="relaxedInset"/>
        </a:sp3d>
      </dgm:spPr>
    </dgm:pt>
    <dgm:pt modelId="{8954BEA6-80AE-481E-83BE-20E6E7598F9D}" type="pres">
      <dgm:prSet presAssocID="{4C0B0B10-F5DA-498B-AA75-DFBD8EABC7E5}" presName="parTxOnly" presStyleLbl="node1" presStyleIdx="3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A675D6D5-7E6C-486C-AEB7-E29ADBCA75D2}" srcId="{058C9D54-D5F7-4D6D-A2B6-3F171D7E7FF9}" destId="{9F0116B2-9D06-454E-8C15-A6D4B40302C6}" srcOrd="2" destOrd="0" parTransId="{8C464F1C-B9CC-4E36-AE99-5D476C690C41}" sibTransId="{78EBEEE8-2F18-4CC8-862B-6C42709BA4B1}"/>
    <dgm:cxn modelId="{9F572C99-01EE-4870-8170-5D8F21A0F112}" srcId="{058C9D54-D5F7-4D6D-A2B6-3F171D7E7FF9}" destId="{4C0B0B10-F5DA-498B-AA75-DFBD8EABC7E5}" srcOrd="3" destOrd="0" parTransId="{87DD7783-75C9-4698-92EF-0A3EEF82C59D}" sibTransId="{A12D79BE-C20F-443F-B91F-D4A734C5F7CC}"/>
    <dgm:cxn modelId="{5AF07121-39DA-488A-A677-6145FD085CF5}" srcId="{058C9D54-D5F7-4D6D-A2B6-3F171D7E7FF9}" destId="{0AB697C2-1C46-4FC0-BA39-B1C5CE1F8B29}" srcOrd="1" destOrd="0" parTransId="{E7F35F40-85D8-4EAB-9643-685121D0FC53}" sibTransId="{480F0CEA-725C-4FF0-B2F7-BC821FE04313}"/>
    <dgm:cxn modelId="{F328DDFD-A27E-472A-A63B-ED8BC310D827}" type="presOf" srcId="{058C9D54-D5F7-4D6D-A2B6-3F171D7E7FF9}" destId="{D1DE7758-12D4-4A4C-99BF-D97CE02D62BE}" srcOrd="0" destOrd="0" presId="urn:microsoft.com/office/officeart/2005/8/layout/chevron1"/>
    <dgm:cxn modelId="{A97FABF8-D82D-45E5-AEBB-4EE98E15A899}" type="presOf" srcId="{4C0B0B10-F5DA-498B-AA75-DFBD8EABC7E5}" destId="{8954BEA6-80AE-481E-83BE-20E6E7598F9D}" srcOrd="0" destOrd="0" presId="urn:microsoft.com/office/officeart/2005/8/layout/chevron1"/>
    <dgm:cxn modelId="{DAEB15AA-D723-4694-B71D-1A208CFA24C4}" type="presOf" srcId="{9F0116B2-9D06-454E-8C15-A6D4B40302C6}" destId="{3D0DF0AF-4727-4DA8-BDA0-2AF8A062B9DD}" srcOrd="0" destOrd="0" presId="urn:microsoft.com/office/officeart/2005/8/layout/chevron1"/>
    <dgm:cxn modelId="{AC27B6B1-3499-4DF0-A8A6-ACDD6F4A7B91}" type="presOf" srcId="{0AB697C2-1C46-4FC0-BA39-B1C5CE1F8B29}" destId="{7BA0359E-D232-4C30-B7AB-C2DF9515A45E}" srcOrd="0" destOrd="0" presId="urn:microsoft.com/office/officeart/2005/8/layout/chevron1"/>
    <dgm:cxn modelId="{6BD57933-D3FE-4EFD-AF09-4CEFB5017460}" type="presOf" srcId="{10A0705E-E955-495C-997F-2DF38B5DFA93}" destId="{B95CEEF2-F769-49BA-9F50-C6D9C73FE2BF}" srcOrd="0" destOrd="0" presId="urn:microsoft.com/office/officeart/2005/8/layout/chevron1"/>
    <dgm:cxn modelId="{C913C140-84DD-4C23-8818-D18446CAD838}" srcId="{058C9D54-D5F7-4D6D-A2B6-3F171D7E7FF9}" destId="{10A0705E-E955-495C-997F-2DF38B5DFA93}" srcOrd="0" destOrd="0" parTransId="{82545511-0A3E-4BED-8E9F-43E8D6F95BBD}" sibTransId="{F5C2F3DF-6DCC-4A26-BE64-0436CE60F25D}"/>
    <dgm:cxn modelId="{1AA32F9B-F91C-46EE-9ED7-474B376AC1D4}" type="presParOf" srcId="{D1DE7758-12D4-4A4C-99BF-D97CE02D62BE}" destId="{B95CEEF2-F769-49BA-9F50-C6D9C73FE2BF}" srcOrd="0" destOrd="0" presId="urn:microsoft.com/office/officeart/2005/8/layout/chevron1"/>
    <dgm:cxn modelId="{A56E8DCE-9192-44A6-8A83-C469384B2670}" type="presParOf" srcId="{D1DE7758-12D4-4A4C-99BF-D97CE02D62BE}" destId="{86E23AC8-91E5-480F-9321-01A8897DFBD4}" srcOrd="1" destOrd="0" presId="urn:microsoft.com/office/officeart/2005/8/layout/chevron1"/>
    <dgm:cxn modelId="{60BB8735-2E84-4744-9166-B842ADDF5B56}" type="presParOf" srcId="{D1DE7758-12D4-4A4C-99BF-D97CE02D62BE}" destId="{7BA0359E-D232-4C30-B7AB-C2DF9515A45E}" srcOrd="2" destOrd="0" presId="urn:microsoft.com/office/officeart/2005/8/layout/chevron1"/>
    <dgm:cxn modelId="{C0E218C1-8C9B-4086-9774-5D2B040EA56E}" type="presParOf" srcId="{D1DE7758-12D4-4A4C-99BF-D97CE02D62BE}" destId="{1BBC3375-FA7D-4097-8A8D-7034DD5AAA7C}" srcOrd="3" destOrd="0" presId="urn:microsoft.com/office/officeart/2005/8/layout/chevron1"/>
    <dgm:cxn modelId="{2963A3AD-B228-4DF3-B1B3-9FD229447629}" type="presParOf" srcId="{D1DE7758-12D4-4A4C-99BF-D97CE02D62BE}" destId="{3D0DF0AF-4727-4DA8-BDA0-2AF8A062B9DD}" srcOrd="4" destOrd="0" presId="urn:microsoft.com/office/officeart/2005/8/layout/chevron1"/>
    <dgm:cxn modelId="{0821BE99-8981-45A7-A928-86EA5589712E}" type="presParOf" srcId="{D1DE7758-12D4-4A4C-99BF-D97CE02D62BE}" destId="{492E3488-566B-49DF-8D20-D1C51B7DCB0B}" srcOrd="5" destOrd="0" presId="urn:microsoft.com/office/officeart/2005/8/layout/chevron1"/>
    <dgm:cxn modelId="{9542EB30-D299-4081-ACDC-9081BBFB8848}" type="presParOf" srcId="{D1DE7758-12D4-4A4C-99BF-D97CE02D62BE}" destId="{8954BEA6-80AE-481E-83BE-20E6E7598F9D}" srcOrd="6" destOrd="0" presId="urn:microsoft.com/office/officeart/2005/8/layout/chevron1"/>
  </dgm:cxnLst>
  <dgm:bg>
    <a:noFill/>
  </dgm:bg>
  <dgm:whole/>
  <dgm:extLst>
    <a:ext uri="http://schemas.microsoft.com/office/drawing/2008/diagram">
      <dsp:dataModelExt xmlns:dsp="http://schemas.microsoft.com/office/drawing/2008/diagram" relId="rId17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058C9D54-D5F7-4D6D-A2B6-3F171D7E7FF9}" type="doc">
      <dgm:prSet loTypeId="urn:microsoft.com/office/officeart/2005/8/layout/chevron1" loCatId="process" qsTypeId="urn:microsoft.com/office/officeart/2005/8/quickstyle/simple1" qsCatId="simple" csTypeId="urn:microsoft.com/office/officeart/2005/8/colors/accent1_2" csCatId="accent1" phldr="1"/>
      <dgm:spPr/>
    </dgm:pt>
    <dgm:pt modelId="{10A0705E-E955-495C-997F-2DF38B5DFA93}">
      <dgm:prSet phldrT="[Текст]" custT="1"/>
      <dgm:spPr>
        <a:solidFill>
          <a:schemeClr val="bg2">
            <a:lumMod val="40000"/>
            <a:lumOff val="60000"/>
          </a:schemeClr>
        </a:solidFill>
        <a:scene3d>
          <a:camera prst="orthographicFront"/>
          <a:lightRig rig="threePt" dir="t"/>
        </a:scene3d>
        <a:sp3d>
          <a:bevelT prst="relaxedInset"/>
        </a:sp3d>
      </dgm:spPr>
      <dgm:t>
        <a:bodyPr/>
        <a:lstStyle/>
        <a:p>
          <a:r>
            <a:rPr lang="ru-RU" sz="1800" b="1" dirty="0" smtClean="0">
              <a:solidFill>
                <a:schemeClr val="tx1"/>
              </a:solidFill>
            </a:rPr>
            <a:t>Закупщик</a:t>
          </a:r>
          <a:endParaRPr lang="ru-RU" sz="1800" b="1" dirty="0">
            <a:solidFill>
              <a:schemeClr val="tx1"/>
            </a:solidFill>
          </a:endParaRPr>
        </a:p>
      </dgm:t>
    </dgm:pt>
    <dgm:pt modelId="{82545511-0A3E-4BED-8E9F-43E8D6F95BBD}" type="parTrans" cxnId="{C913C140-84DD-4C23-8818-D18446CAD838}">
      <dgm:prSet/>
      <dgm:spPr/>
      <dgm:t>
        <a:bodyPr/>
        <a:lstStyle/>
        <a:p>
          <a:endParaRPr lang="ru-RU" sz="1100"/>
        </a:p>
      </dgm:t>
    </dgm:pt>
    <dgm:pt modelId="{F5C2F3DF-6DCC-4A26-BE64-0436CE60F25D}" type="sibTrans" cxnId="{C913C140-84DD-4C23-8818-D18446CAD838}">
      <dgm:prSet/>
      <dgm:spPr/>
      <dgm:t>
        <a:bodyPr/>
        <a:lstStyle/>
        <a:p>
          <a:endParaRPr lang="ru-RU" sz="1100"/>
        </a:p>
      </dgm:t>
    </dgm:pt>
    <dgm:pt modelId="{0AB697C2-1C46-4FC0-BA39-B1C5CE1F8B29}">
      <dgm:prSet phldrT="[Текст]" custT="1"/>
      <dgm:spPr>
        <a:solidFill>
          <a:schemeClr val="bg2">
            <a:lumMod val="40000"/>
            <a:lumOff val="60000"/>
          </a:schemeClr>
        </a:solidFill>
        <a:scene3d>
          <a:camera prst="orthographicFront"/>
          <a:lightRig rig="threePt" dir="t"/>
        </a:scene3d>
        <a:sp3d>
          <a:bevelT prst="relaxedInset"/>
        </a:sp3d>
      </dgm:spPr>
      <dgm:t>
        <a:bodyPr/>
        <a:lstStyle/>
        <a:p>
          <a:r>
            <a:rPr lang="ru-RU" sz="1800" b="1" dirty="0" smtClean="0">
              <a:solidFill>
                <a:schemeClr val="tx1"/>
              </a:solidFill>
            </a:rPr>
            <a:t>Экономист</a:t>
          </a:r>
          <a:endParaRPr lang="ru-RU" sz="1800" b="1" dirty="0">
            <a:solidFill>
              <a:schemeClr val="tx1"/>
            </a:solidFill>
          </a:endParaRPr>
        </a:p>
      </dgm:t>
    </dgm:pt>
    <dgm:pt modelId="{E7F35F40-85D8-4EAB-9643-685121D0FC53}" type="parTrans" cxnId="{5AF07121-39DA-488A-A677-6145FD085CF5}">
      <dgm:prSet/>
      <dgm:spPr/>
      <dgm:t>
        <a:bodyPr/>
        <a:lstStyle/>
        <a:p>
          <a:endParaRPr lang="ru-RU" sz="1100"/>
        </a:p>
      </dgm:t>
    </dgm:pt>
    <dgm:pt modelId="{480F0CEA-725C-4FF0-B2F7-BC821FE04313}" type="sibTrans" cxnId="{5AF07121-39DA-488A-A677-6145FD085CF5}">
      <dgm:prSet/>
      <dgm:spPr/>
      <dgm:t>
        <a:bodyPr/>
        <a:lstStyle/>
        <a:p>
          <a:endParaRPr lang="ru-RU" sz="1100"/>
        </a:p>
      </dgm:t>
    </dgm:pt>
    <dgm:pt modelId="{9F0116B2-9D06-454E-8C15-A6D4B40302C6}">
      <dgm:prSet phldrT="[Текст]" custT="1"/>
      <dgm:spPr>
        <a:solidFill>
          <a:schemeClr val="bg2">
            <a:lumMod val="40000"/>
            <a:lumOff val="60000"/>
          </a:schemeClr>
        </a:solidFill>
        <a:scene3d>
          <a:camera prst="orthographicFront"/>
          <a:lightRig rig="threePt" dir="t"/>
        </a:scene3d>
        <a:sp3d>
          <a:bevelT prst="relaxedInset"/>
        </a:sp3d>
      </dgm:spPr>
      <dgm:t>
        <a:bodyPr/>
        <a:lstStyle/>
        <a:p>
          <a:r>
            <a:rPr lang="ru-RU" sz="1800" b="1" dirty="0" smtClean="0">
              <a:solidFill>
                <a:schemeClr val="tx1"/>
              </a:solidFill>
            </a:rPr>
            <a:t>Фин. контролер</a:t>
          </a:r>
          <a:endParaRPr lang="ru-RU" sz="1800" b="1" dirty="0">
            <a:solidFill>
              <a:schemeClr val="tx1"/>
            </a:solidFill>
          </a:endParaRPr>
        </a:p>
      </dgm:t>
    </dgm:pt>
    <dgm:pt modelId="{8C464F1C-B9CC-4E36-AE99-5D476C690C41}" type="parTrans" cxnId="{A675D6D5-7E6C-486C-AEB7-E29ADBCA75D2}">
      <dgm:prSet/>
      <dgm:spPr/>
      <dgm:t>
        <a:bodyPr/>
        <a:lstStyle/>
        <a:p>
          <a:endParaRPr lang="ru-RU" sz="1100"/>
        </a:p>
      </dgm:t>
    </dgm:pt>
    <dgm:pt modelId="{78EBEEE8-2F18-4CC8-862B-6C42709BA4B1}" type="sibTrans" cxnId="{A675D6D5-7E6C-486C-AEB7-E29ADBCA75D2}">
      <dgm:prSet/>
      <dgm:spPr/>
      <dgm:t>
        <a:bodyPr/>
        <a:lstStyle/>
        <a:p>
          <a:endParaRPr lang="ru-RU" sz="1100"/>
        </a:p>
      </dgm:t>
    </dgm:pt>
    <dgm:pt modelId="{D1DE7758-12D4-4A4C-99BF-D97CE02D62BE}" type="pres">
      <dgm:prSet presAssocID="{058C9D54-D5F7-4D6D-A2B6-3F171D7E7FF9}" presName="Name0" presStyleCnt="0">
        <dgm:presLayoutVars>
          <dgm:dir/>
          <dgm:animLvl val="lvl"/>
          <dgm:resizeHandles val="exact"/>
        </dgm:presLayoutVars>
      </dgm:prSet>
      <dgm:spPr/>
    </dgm:pt>
    <dgm:pt modelId="{B95CEEF2-F769-49BA-9F50-C6D9C73FE2BF}" type="pres">
      <dgm:prSet presAssocID="{10A0705E-E955-495C-997F-2DF38B5DFA93}" presName="parTxOnly" presStyleLbl="node1" presStyleIdx="0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86E23AC8-91E5-480F-9321-01A8897DFBD4}" type="pres">
      <dgm:prSet presAssocID="{F5C2F3DF-6DCC-4A26-BE64-0436CE60F25D}" presName="parTxOnlySpace" presStyleCnt="0"/>
      <dgm:spPr>
        <a:scene3d>
          <a:camera prst="orthographicFront"/>
          <a:lightRig rig="threePt" dir="t"/>
        </a:scene3d>
        <a:sp3d>
          <a:bevelT prst="relaxedInset"/>
        </a:sp3d>
      </dgm:spPr>
    </dgm:pt>
    <dgm:pt modelId="{7BA0359E-D232-4C30-B7AB-C2DF9515A45E}" type="pres">
      <dgm:prSet presAssocID="{0AB697C2-1C46-4FC0-BA39-B1C5CE1F8B29}" presName="parTxOnly" presStyleLbl="node1" presStyleIdx="1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1BBC3375-FA7D-4097-8A8D-7034DD5AAA7C}" type="pres">
      <dgm:prSet presAssocID="{480F0CEA-725C-4FF0-B2F7-BC821FE04313}" presName="parTxOnlySpace" presStyleCnt="0"/>
      <dgm:spPr>
        <a:scene3d>
          <a:camera prst="orthographicFront"/>
          <a:lightRig rig="threePt" dir="t"/>
        </a:scene3d>
        <a:sp3d>
          <a:bevelT prst="relaxedInset"/>
        </a:sp3d>
      </dgm:spPr>
    </dgm:pt>
    <dgm:pt modelId="{3D0DF0AF-4727-4DA8-BDA0-2AF8A062B9DD}" type="pres">
      <dgm:prSet presAssocID="{9F0116B2-9D06-454E-8C15-A6D4B40302C6}" presName="parTxOnly" presStyleLbl="node1" presStyleIdx="2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DAEB15AA-D723-4694-B71D-1A208CFA24C4}" type="presOf" srcId="{9F0116B2-9D06-454E-8C15-A6D4B40302C6}" destId="{3D0DF0AF-4727-4DA8-BDA0-2AF8A062B9DD}" srcOrd="0" destOrd="0" presId="urn:microsoft.com/office/officeart/2005/8/layout/chevron1"/>
    <dgm:cxn modelId="{6BD57933-D3FE-4EFD-AF09-4CEFB5017460}" type="presOf" srcId="{10A0705E-E955-495C-997F-2DF38B5DFA93}" destId="{B95CEEF2-F769-49BA-9F50-C6D9C73FE2BF}" srcOrd="0" destOrd="0" presId="urn:microsoft.com/office/officeart/2005/8/layout/chevron1"/>
    <dgm:cxn modelId="{5AF07121-39DA-488A-A677-6145FD085CF5}" srcId="{058C9D54-D5F7-4D6D-A2B6-3F171D7E7FF9}" destId="{0AB697C2-1C46-4FC0-BA39-B1C5CE1F8B29}" srcOrd="1" destOrd="0" parTransId="{E7F35F40-85D8-4EAB-9643-685121D0FC53}" sibTransId="{480F0CEA-725C-4FF0-B2F7-BC821FE04313}"/>
    <dgm:cxn modelId="{F328DDFD-A27E-472A-A63B-ED8BC310D827}" type="presOf" srcId="{058C9D54-D5F7-4D6D-A2B6-3F171D7E7FF9}" destId="{D1DE7758-12D4-4A4C-99BF-D97CE02D62BE}" srcOrd="0" destOrd="0" presId="urn:microsoft.com/office/officeart/2005/8/layout/chevron1"/>
    <dgm:cxn modelId="{A675D6D5-7E6C-486C-AEB7-E29ADBCA75D2}" srcId="{058C9D54-D5F7-4D6D-A2B6-3F171D7E7FF9}" destId="{9F0116B2-9D06-454E-8C15-A6D4B40302C6}" srcOrd="2" destOrd="0" parTransId="{8C464F1C-B9CC-4E36-AE99-5D476C690C41}" sibTransId="{78EBEEE8-2F18-4CC8-862B-6C42709BA4B1}"/>
    <dgm:cxn modelId="{C913C140-84DD-4C23-8818-D18446CAD838}" srcId="{058C9D54-D5F7-4D6D-A2B6-3F171D7E7FF9}" destId="{10A0705E-E955-495C-997F-2DF38B5DFA93}" srcOrd="0" destOrd="0" parTransId="{82545511-0A3E-4BED-8E9F-43E8D6F95BBD}" sibTransId="{F5C2F3DF-6DCC-4A26-BE64-0436CE60F25D}"/>
    <dgm:cxn modelId="{AC27B6B1-3499-4DF0-A8A6-ACDD6F4A7B91}" type="presOf" srcId="{0AB697C2-1C46-4FC0-BA39-B1C5CE1F8B29}" destId="{7BA0359E-D232-4C30-B7AB-C2DF9515A45E}" srcOrd="0" destOrd="0" presId="urn:microsoft.com/office/officeart/2005/8/layout/chevron1"/>
    <dgm:cxn modelId="{1AA32F9B-F91C-46EE-9ED7-474B376AC1D4}" type="presParOf" srcId="{D1DE7758-12D4-4A4C-99BF-D97CE02D62BE}" destId="{B95CEEF2-F769-49BA-9F50-C6D9C73FE2BF}" srcOrd="0" destOrd="0" presId="urn:microsoft.com/office/officeart/2005/8/layout/chevron1"/>
    <dgm:cxn modelId="{A56E8DCE-9192-44A6-8A83-C469384B2670}" type="presParOf" srcId="{D1DE7758-12D4-4A4C-99BF-D97CE02D62BE}" destId="{86E23AC8-91E5-480F-9321-01A8897DFBD4}" srcOrd="1" destOrd="0" presId="urn:microsoft.com/office/officeart/2005/8/layout/chevron1"/>
    <dgm:cxn modelId="{60BB8735-2E84-4744-9166-B842ADDF5B56}" type="presParOf" srcId="{D1DE7758-12D4-4A4C-99BF-D97CE02D62BE}" destId="{7BA0359E-D232-4C30-B7AB-C2DF9515A45E}" srcOrd="2" destOrd="0" presId="urn:microsoft.com/office/officeart/2005/8/layout/chevron1"/>
    <dgm:cxn modelId="{C0E218C1-8C9B-4086-9774-5D2B040EA56E}" type="presParOf" srcId="{D1DE7758-12D4-4A4C-99BF-D97CE02D62BE}" destId="{1BBC3375-FA7D-4097-8A8D-7034DD5AAA7C}" srcOrd="3" destOrd="0" presId="urn:microsoft.com/office/officeart/2005/8/layout/chevron1"/>
    <dgm:cxn modelId="{2963A3AD-B228-4DF3-B1B3-9FD229447629}" type="presParOf" srcId="{D1DE7758-12D4-4A4C-99BF-D97CE02D62BE}" destId="{3D0DF0AF-4727-4DA8-BDA0-2AF8A062B9DD}" srcOrd="4" destOrd="0" presId="urn:microsoft.com/office/officeart/2005/8/layout/chevron1"/>
  </dgm:cxnLst>
  <dgm:bg>
    <a:noFill/>
  </dgm:bg>
  <dgm:whole/>
  <dgm:extLst>
    <a:ext uri="http://schemas.microsoft.com/office/drawing/2008/diagram">
      <dsp:dataModelExt xmlns:dsp="http://schemas.microsoft.com/office/drawing/2008/diagram" relId="rId22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95CEEF2-F769-49BA-9F50-C6D9C73FE2BF}">
      <dsp:nvSpPr>
        <dsp:cNvPr id="0" name=""/>
        <dsp:cNvSpPr/>
      </dsp:nvSpPr>
      <dsp:spPr>
        <a:xfrm>
          <a:off x="3640" y="0"/>
          <a:ext cx="2119191" cy="531223"/>
        </a:xfrm>
        <a:prstGeom prst="chevron">
          <a:avLst/>
        </a:prstGeom>
        <a:solidFill>
          <a:schemeClr val="bg2">
            <a:lumMod val="40000"/>
            <a:lumOff val="60000"/>
          </a:schemeClr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  <a:scene3d>
          <a:camera prst="orthographicFront"/>
          <a:lightRig rig="threePt" dir="t"/>
        </a:scene3d>
        <a:sp3d>
          <a:bevelT prst="relaxedInset"/>
        </a:sp3d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008" tIns="21336" rIns="21336" bIns="21336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600" b="1" kern="1200" dirty="0" smtClean="0">
              <a:solidFill>
                <a:schemeClr val="tx1"/>
              </a:solidFill>
            </a:rPr>
            <a:t>Руководитель ЦФО</a:t>
          </a:r>
          <a:endParaRPr lang="ru-RU" sz="1600" b="1" kern="1200" dirty="0">
            <a:solidFill>
              <a:schemeClr val="tx1"/>
            </a:solidFill>
          </a:endParaRPr>
        </a:p>
      </dsp:txBody>
      <dsp:txXfrm>
        <a:off x="269252" y="0"/>
        <a:ext cx="1587968" cy="531223"/>
      </dsp:txXfrm>
    </dsp:sp>
    <dsp:sp modelId="{7BA0359E-D232-4C30-B7AB-C2DF9515A45E}">
      <dsp:nvSpPr>
        <dsp:cNvPr id="0" name=""/>
        <dsp:cNvSpPr/>
      </dsp:nvSpPr>
      <dsp:spPr>
        <a:xfrm>
          <a:off x="1910912" y="0"/>
          <a:ext cx="2119191" cy="531223"/>
        </a:xfrm>
        <a:prstGeom prst="chevron">
          <a:avLst/>
        </a:prstGeom>
        <a:solidFill>
          <a:schemeClr val="bg2">
            <a:lumMod val="40000"/>
            <a:lumOff val="60000"/>
          </a:schemeClr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  <a:scene3d>
          <a:camera prst="orthographicFront"/>
          <a:lightRig rig="threePt" dir="t"/>
        </a:scene3d>
        <a:sp3d>
          <a:bevelT prst="relaxedInset"/>
        </a:sp3d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008" tIns="21336" rIns="21336" bIns="21336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600" b="1" kern="1200" dirty="0" smtClean="0">
              <a:solidFill>
                <a:schemeClr val="tx1"/>
              </a:solidFill>
            </a:rPr>
            <a:t>Экономист</a:t>
          </a:r>
          <a:endParaRPr lang="ru-RU" sz="1600" b="1" kern="1200" dirty="0">
            <a:solidFill>
              <a:schemeClr val="tx1"/>
            </a:solidFill>
          </a:endParaRPr>
        </a:p>
      </dsp:txBody>
      <dsp:txXfrm>
        <a:off x="2176524" y="0"/>
        <a:ext cx="1587968" cy="531223"/>
      </dsp:txXfrm>
    </dsp:sp>
    <dsp:sp modelId="{3D0DF0AF-4727-4DA8-BDA0-2AF8A062B9DD}">
      <dsp:nvSpPr>
        <dsp:cNvPr id="0" name=""/>
        <dsp:cNvSpPr/>
      </dsp:nvSpPr>
      <dsp:spPr>
        <a:xfrm>
          <a:off x="3818184" y="0"/>
          <a:ext cx="2119191" cy="531223"/>
        </a:xfrm>
        <a:prstGeom prst="chevron">
          <a:avLst/>
        </a:prstGeom>
        <a:solidFill>
          <a:schemeClr val="bg2">
            <a:lumMod val="40000"/>
            <a:lumOff val="60000"/>
          </a:schemeClr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  <a:scene3d>
          <a:camera prst="orthographicFront"/>
          <a:lightRig rig="threePt" dir="t"/>
        </a:scene3d>
        <a:sp3d>
          <a:bevelT prst="relaxedInset"/>
        </a:sp3d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008" tIns="21336" rIns="21336" bIns="21336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600" b="1" kern="1200" dirty="0" smtClean="0">
              <a:solidFill>
                <a:schemeClr val="tx1"/>
              </a:solidFill>
            </a:rPr>
            <a:t>Бухгалтер</a:t>
          </a:r>
          <a:endParaRPr lang="ru-RU" sz="1600" b="1" kern="1200" dirty="0">
            <a:solidFill>
              <a:schemeClr val="tx1"/>
            </a:solidFill>
          </a:endParaRPr>
        </a:p>
      </dsp:txBody>
      <dsp:txXfrm>
        <a:off x="4083796" y="0"/>
        <a:ext cx="1587968" cy="531223"/>
      </dsp:txXfrm>
    </dsp:sp>
    <dsp:sp modelId="{8954BEA6-80AE-481E-83BE-20E6E7598F9D}">
      <dsp:nvSpPr>
        <dsp:cNvPr id="0" name=""/>
        <dsp:cNvSpPr/>
      </dsp:nvSpPr>
      <dsp:spPr>
        <a:xfrm>
          <a:off x="5729097" y="0"/>
          <a:ext cx="2119191" cy="531223"/>
        </a:xfrm>
        <a:prstGeom prst="chevron">
          <a:avLst/>
        </a:prstGeom>
        <a:solidFill>
          <a:schemeClr val="bg2">
            <a:lumMod val="40000"/>
            <a:lumOff val="60000"/>
          </a:schemeClr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  <a:scene3d>
          <a:camera prst="orthographicFront"/>
          <a:lightRig rig="threePt" dir="t"/>
        </a:scene3d>
        <a:sp3d>
          <a:bevelT prst="relaxedInset"/>
        </a:sp3d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008" tIns="21336" rIns="21336" bIns="21336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600" b="1" kern="1200" dirty="0" smtClean="0">
              <a:solidFill>
                <a:schemeClr val="tx1"/>
              </a:solidFill>
            </a:rPr>
            <a:t>Фин. контролер</a:t>
          </a:r>
          <a:endParaRPr lang="ru-RU" sz="1600" b="1" kern="1200" dirty="0">
            <a:solidFill>
              <a:schemeClr val="tx1"/>
            </a:solidFill>
          </a:endParaRPr>
        </a:p>
      </dsp:txBody>
      <dsp:txXfrm>
        <a:off x="5994709" y="0"/>
        <a:ext cx="1587968" cy="531223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95CEEF2-F769-49BA-9F50-C6D9C73FE2BF}">
      <dsp:nvSpPr>
        <dsp:cNvPr id="0" name=""/>
        <dsp:cNvSpPr/>
      </dsp:nvSpPr>
      <dsp:spPr>
        <a:xfrm>
          <a:off x="3829" y="0"/>
          <a:ext cx="2229207" cy="531223"/>
        </a:xfrm>
        <a:prstGeom prst="chevron">
          <a:avLst/>
        </a:prstGeom>
        <a:solidFill>
          <a:schemeClr val="bg2">
            <a:lumMod val="40000"/>
            <a:lumOff val="60000"/>
          </a:schemeClr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  <a:scene3d>
          <a:camera prst="orthographicFront"/>
          <a:lightRig rig="threePt" dir="t"/>
        </a:scene3d>
        <a:sp3d>
          <a:bevelT prst="relaxedInset"/>
        </a:sp3d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008" tIns="21336" rIns="21336" bIns="21336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600" b="1" kern="1200" dirty="0" smtClean="0">
              <a:solidFill>
                <a:schemeClr val="tx1"/>
              </a:solidFill>
            </a:rPr>
            <a:t>Директор по </a:t>
          </a:r>
          <a:r>
            <a:rPr lang="ru-RU" sz="1600" b="1" kern="1200" dirty="0" err="1" smtClean="0">
              <a:solidFill>
                <a:schemeClr val="tx1"/>
              </a:solidFill>
            </a:rPr>
            <a:t>ЭиФ</a:t>
          </a:r>
          <a:r>
            <a:rPr lang="ru-RU" sz="1600" b="1" kern="1200" dirty="0" smtClean="0">
              <a:solidFill>
                <a:schemeClr val="tx1"/>
              </a:solidFill>
            </a:rPr>
            <a:t> (ДЗО)</a:t>
          </a:r>
          <a:endParaRPr lang="ru-RU" sz="1600" b="1" kern="1200" dirty="0">
            <a:solidFill>
              <a:schemeClr val="tx1"/>
            </a:solidFill>
          </a:endParaRPr>
        </a:p>
      </dsp:txBody>
      <dsp:txXfrm>
        <a:off x="269441" y="0"/>
        <a:ext cx="1697984" cy="531223"/>
      </dsp:txXfrm>
    </dsp:sp>
    <dsp:sp modelId="{7BA0359E-D232-4C30-B7AB-C2DF9515A45E}">
      <dsp:nvSpPr>
        <dsp:cNvPr id="0" name=""/>
        <dsp:cNvSpPr/>
      </dsp:nvSpPr>
      <dsp:spPr>
        <a:xfrm>
          <a:off x="2010116" y="0"/>
          <a:ext cx="2229207" cy="531223"/>
        </a:xfrm>
        <a:prstGeom prst="chevron">
          <a:avLst/>
        </a:prstGeom>
        <a:solidFill>
          <a:schemeClr val="bg2">
            <a:lumMod val="40000"/>
            <a:lumOff val="60000"/>
          </a:schemeClr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  <a:scene3d>
          <a:camera prst="orthographicFront"/>
          <a:lightRig rig="threePt" dir="t"/>
        </a:scene3d>
        <a:sp3d>
          <a:bevelT prst="relaxedInset"/>
        </a:sp3d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008" tIns="21336" rIns="21336" bIns="21336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600" b="1" kern="1200" dirty="0" smtClean="0">
              <a:solidFill>
                <a:schemeClr val="tx1"/>
              </a:solidFill>
            </a:rPr>
            <a:t>Казначей УК</a:t>
          </a:r>
          <a:endParaRPr lang="ru-RU" sz="1600" b="1" kern="1200" dirty="0">
            <a:solidFill>
              <a:schemeClr val="tx1"/>
            </a:solidFill>
          </a:endParaRPr>
        </a:p>
      </dsp:txBody>
      <dsp:txXfrm>
        <a:off x="2275728" y="0"/>
        <a:ext cx="1697984" cy="531223"/>
      </dsp:txXfrm>
    </dsp:sp>
    <dsp:sp modelId="{3D0DF0AF-4727-4DA8-BDA0-2AF8A062B9DD}">
      <dsp:nvSpPr>
        <dsp:cNvPr id="0" name=""/>
        <dsp:cNvSpPr/>
      </dsp:nvSpPr>
      <dsp:spPr>
        <a:xfrm>
          <a:off x="4016403" y="0"/>
          <a:ext cx="2229207" cy="531223"/>
        </a:xfrm>
        <a:prstGeom prst="chevron">
          <a:avLst/>
        </a:prstGeom>
        <a:solidFill>
          <a:schemeClr val="bg2">
            <a:lumMod val="40000"/>
            <a:lumOff val="60000"/>
          </a:schemeClr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  <a:scene3d>
          <a:camera prst="orthographicFront"/>
          <a:lightRig rig="threePt" dir="t"/>
        </a:scene3d>
        <a:sp3d>
          <a:bevelT prst="relaxedInset"/>
        </a:sp3d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008" tIns="21336" rIns="21336" bIns="21336" numCol="1" spcCol="1270" anchor="ctr" anchorCtr="0">
          <a:noAutofit/>
        </a:bodyPr>
        <a:lstStyle/>
        <a:p>
          <a:pPr marL="0" marR="0" lvl="0" indent="0" algn="ctr" defTabSz="914400" eaLnBrk="1" fontAlgn="auto" latinLnBrk="0" hangingPunct="1">
            <a:lnSpc>
              <a:spcPct val="100000"/>
            </a:lnSpc>
            <a:spcBef>
              <a:spcPct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ru-RU" sz="1600" b="1" kern="1200" dirty="0" smtClean="0">
              <a:solidFill>
                <a:schemeClr val="tx1"/>
              </a:solidFill>
            </a:rPr>
            <a:t>Директор ДЗО</a:t>
          </a:r>
        </a:p>
      </dsp:txBody>
      <dsp:txXfrm>
        <a:off x="4282015" y="0"/>
        <a:ext cx="1697984" cy="531223"/>
      </dsp:txXfrm>
    </dsp:sp>
    <dsp:sp modelId="{8954BEA6-80AE-481E-83BE-20E6E7598F9D}">
      <dsp:nvSpPr>
        <dsp:cNvPr id="0" name=""/>
        <dsp:cNvSpPr/>
      </dsp:nvSpPr>
      <dsp:spPr>
        <a:xfrm>
          <a:off x="6022690" y="0"/>
          <a:ext cx="2229207" cy="531223"/>
        </a:xfrm>
        <a:prstGeom prst="chevron">
          <a:avLst/>
        </a:prstGeom>
        <a:solidFill>
          <a:schemeClr val="bg2">
            <a:lumMod val="40000"/>
            <a:lumOff val="60000"/>
          </a:schemeClr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  <a:scene3d>
          <a:camera prst="orthographicFront"/>
          <a:lightRig rig="threePt" dir="t"/>
        </a:scene3d>
        <a:sp3d>
          <a:bevelT prst="relaxedInset"/>
        </a:sp3d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008" tIns="21336" rIns="21336" bIns="21336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600" b="1" kern="1200" dirty="0" smtClean="0">
              <a:solidFill>
                <a:schemeClr val="tx1"/>
              </a:solidFill>
            </a:rPr>
            <a:t>Руководитель ЕРЦ</a:t>
          </a:r>
          <a:endParaRPr lang="ru-RU" sz="1600" b="1" kern="1200" dirty="0">
            <a:solidFill>
              <a:schemeClr val="tx1"/>
            </a:solidFill>
          </a:endParaRPr>
        </a:p>
      </dsp:txBody>
      <dsp:txXfrm>
        <a:off x="6288302" y="0"/>
        <a:ext cx="1697984" cy="531223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95CEEF2-F769-49BA-9F50-C6D9C73FE2BF}">
      <dsp:nvSpPr>
        <dsp:cNvPr id="0" name=""/>
        <dsp:cNvSpPr/>
      </dsp:nvSpPr>
      <dsp:spPr>
        <a:xfrm>
          <a:off x="2269" y="0"/>
          <a:ext cx="2764684" cy="531223"/>
        </a:xfrm>
        <a:prstGeom prst="chevron">
          <a:avLst/>
        </a:prstGeom>
        <a:solidFill>
          <a:schemeClr val="bg2">
            <a:lumMod val="40000"/>
            <a:lumOff val="60000"/>
          </a:schemeClr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  <a:scene3d>
          <a:camera prst="orthographicFront"/>
          <a:lightRig rig="threePt" dir="t"/>
        </a:scene3d>
        <a:sp3d>
          <a:bevelT prst="relaxedInset"/>
        </a:sp3d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2009" tIns="24003" rIns="24003" bIns="24003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800" b="1" kern="1200" dirty="0" smtClean="0">
              <a:solidFill>
                <a:schemeClr val="tx1"/>
              </a:solidFill>
            </a:rPr>
            <a:t>Закупщик</a:t>
          </a:r>
          <a:endParaRPr lang="ru-RU" sz="1800" b="1" kern="1200" dirty="0">
            <a:solidFill>
              <a:schemeClr val="tx1"/>
            </a:solidFill>
          </a:endParaRPr>
        </a:p>
      </dsp:txBody>
      <dsp:txXfrm>
        <a:off x="267881" y="0"/>
        <a:ext cx="2233461" cy="531223"/>
      </dsp:txXfrm>
    </dsp:sp>
    <dsp:sp modelId="{7BA0359E-D232-4C30-B7AB-C2DF9515A45E}">
      <dsp:nvSpPr>
        <dsp:cNvPr id="0" name=""/>
        <dsp:cNvSpPr/>
      </dsp:nvSpPr>
      <dsp:spPr>
        <a:xfrm>
          <a:off x="2490485" y="0"/>
          <a:ext cx="2764684" cy="531223"/>
        </a:xfrm>
        <a:prstGeom prst="chevron">
          <a:avLst/>
        </a:prstGeom>
        <a:solidFill>
          <a:schemeClr val="bg2">
            <a:lumMod val="40000"/>
            <a:lumOff val="60000"/>
          </a:schemeClr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  <a:scene3d>
          <a:camera prst="orthographicFront"/>
          <a:lightRig rig="threePt" dir="t"/>
        </a:scene3d>
        <a:sp3d>
          <a:bevelT prst="relaxedInset"/>
        </a:sp3d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2009" tIns="24003" rIns="24003" bIns="24003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800" b="1" kern="1200" dirty="0" smtClean="0">
              <a:solidFill>
                <a:schemeClr val="tx1"/>
              </a:solidFill>
            </a:rPr>
            <a:t>Экономист</a:t>
          </a:r>
          <a:endParaRPr lang="ru-RU" sz="1800" b="1" kern="1200" dirty="0">
            <a:solidFill>
              <a:schemeClr val="tx1"/>
            </a:solidFill>
          </a:endParaRPr>
        </a:p>
      </dsp:txBody>
      <dsp:txXfrm>
        <a:off x="2756097" y="0"/>
        <a:ext cx="2233461" cy="531223"/>
      </dsp:txXfrm>
    </dsp:sp>
    <dsp:sp modelId="{3D0DF0AF-4727-4DA8-BDA0-2AF8A062B9DD}">
      <dsp:nvSpPr>
        <dsp:cNvPr id="0" name=""/>
        <dsp:cNvSpPr/>
      </dsp:nvSpPr>
      <dsp:spPr>
        <a:xfrm>
          <a:off x="4978701" y="0"/>
          <a:ext cx="2764684" cy="531223"/>
        </a:xfrm>
        <a:prstGeom prst="chevron">
          <a:avLst/>
        </a:prstGeom>
        <a:solidFill>
          <a:schemeClr val="bg2">
            <a:lumMod val="40000"/>
            <a:lumOff val="60000"/>
          </a:schemeClr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  <a:scene3d>
          <a:camera prst="orthographicFront"/>
          <a:lightRig rig="threePt" dir="t"/>
        </a:scene3d>
        <a:sp3d>
          <a:bevelT prst="relaxedInset"/>
        </a:sp3d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2009" tIns="24003" rIns="24003" bIns="24003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800" b="1" kern="1200" dirty="0" smtClean="0">
              <a:solidFill>
                <a:schemeClr val="tx1"/>
              </a:solidFill>
            </a:rPr>
            <a:t>Фин. контролер</a:t>
          </a:r>
          <a:endParaRPr lang="ru-RU" sz="1800" b="1" kern="1200" dirty="0">
            <a:solidFill>
              <a:schemeClr val="tx1"/>
            </a:solidFill>
          </a:endParaRPr>
        </a:p>
      </dsp:txBody>
      <dsp:txXfrm>
        <a:off x="5244313" y="0"/>
        <a:ext cx="2233461" cy="531223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B5F12EB-D5BF-40BA-9B95-078ABB901416}" type="datetimeFigureOut">
              <a:rPr lang="ru-RU" smtClean="0"/>
              <a:t>26.10.2022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F22267A-EADD-4661-ACDE-B74F3C01E8BF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5199079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215C288-86FD-4993-A701-3F511E23A021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0862033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15C288-86FD-4993-A701-3F511E23A021}" type="slidenum">
              <a:rPr lang="ru-RU" smtClean="0"/>
              <a:t>11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366750917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15C288-86FD-4993-A701-3F511E23A021}" type="slidenum">
              <a:rPr lang="ru-RU" smtClean="0"/>
              <a:t>12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184444045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15C288-86FD-4993-A701-3F511E23A021}" type="slidenum">
              <a:rPr lang="ru-RU" smtClean="0"/>
              <a:t>13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481349687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15C288-86FD-4993-A701-3F511E23A021}" type="slidenum">
              <a:rPr lang="ru-RU" smtClean="0"/>
              <a:t>14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890098198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15C288-86FD-4993-A701-3F511E23A021}" type="slidenum">
              <a:rPr lang="ru-RU" smtClean="0"/>
              <a:t>15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387539711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15C288-86FD-4993-A701-3F511E23A021}" type="slidenum">
              <a:rPr lang="ru-RU" smtClean="0"/>
              <a:t>16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50355448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215C288-86FD-4993-A701-3F511E23A021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7409426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215C288-86FD-4993-A701-3F511E23A021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0674462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15C288-86FD-4993-A701-3F511E23A021}" type="slidenum">
              <a:rPr lang="ru-RU" smtClean="0"/>
              <a:t>5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08257823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15C288-86FD-4993-A701-3F511E23A021}" type="slidenum">
              <a:rPr lang="ru-RU" smtClean="0"/>
              <a:t>6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19294131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15C288-86FD-4993-A701-3F511E23A021}" type="slidenum">
              <a:rPr lang="ru-RU" smtClean="0"/>
              <a:t>7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45833077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15C288-86FD-4993-A701-3F511E23A021}" type="slidenum">
              <a:rPr lang="ru-RU" smtClean="0"/>
              <a:t>8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45694311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15C288-86FD-4993-A701-3F511E23A021}" type="slidenum">
              <a:rPr lang="ru-RU" smtClean="0"/>
              <a:t>9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9898795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15C288-86FD-4993-A701-3F511E23A021}" type="slidenum">
              <a:rPr lang="ru-RU" smtClean="0"/>
              <a:t>10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27020274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.xml"/><Relationship Id="rId4" Type="http://schemas.openxmlformats.org/officeDocument/2006/relationships/image" Target="../media/image2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DA2677-3B47-435B-A179-E6243DE11AFB}" type="datetimeFigureOut">
              <a:rPr lang="ru-RU" smtClean="0"/>
              <a:t>26.10.2022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5DEB1F-7F0B-48EC-B2F6-A964A480CE7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61165481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DA2677-3B47-435B-A179-E6243DE11AFB}" type="datetimeFigureOut">
              <a:rPr lang="ru-RU" smtClean="0"/>
              <a:t>26.10.2022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5DEB1F-7F0B-48EC-B2F6-A964A480CE7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72751444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DA2677-3B47-435B-A179-E6243DE11AFB}" type="datetimeFigureOut">
              <a:rPr lang="ru-RU" smtClean="0"/>
              <a:t>26.10.2022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5DEB1F-7F0B-48EC-B2F6-A964A480CE7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00386342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Одна колонка с заголовк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Content Placeholder 18"/>
          <p:cNvSpPr>
            <a:spLocks noGrp="1"/>
          </p:cNvSpPr>
          <p:nvPr>
            <p:ph sz="quarter" idx="11" hasCustomPrompt="1"/>
          </p:nvPr>
        </p:nvSpPr>
        <p:spPr>
          <a:xfrm>
            <a:off x="454905" y="1914411"/>
            <a:ext cx="11255948" cy="3790914"/>
          </a:xfrm>
          <a:prstGeom prst="rect">
            <a:avLst/>
          </a:prstGeom>
        </p:spPr>
        <p:txBody>
          <a:bodyPr lIns="45720" tIns="45720" rIns="45720" bIns="45720"/>
          <a:lstStyle>
            <a:lvl1pPr>
              <a:spcBef>
                <a:spcPts val="0"/>
              </a:spcBef>
              <a:buClr>
                <a:schemeClr val="tx2"/>
              </a:buClr>
              <a:defRPr sz="1969">
                <a:solidFill>
                  <a:schemeClr val="tx1"/>
                </a:solidFill>
                <a:latin typeface="Calibri"/>
                <a:cs typeface="Calibri"/>
              </a:defRPr>
            </a:lvl1pPr>
            <a:lvl2pPr marL="472686" indent="-225089"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723">
                <a:solidFill>
                  <a:schemeClr val="tx1"/>
                </a:solidFill>
                <a:latin typeface="Calibri"/>
                <a:cs typeface="Calibri"/>
              </a:defRPr>
            </a:lvl2pPr>
            <a:lvl3pPr marL="697776" indent="-225089">
              <a:spcBef>
                <a:spcPts val="0"/>
              </a:spcBef>
              <a:buClr>
                <a:schemeClr val="bg2"/>
              </a:buClr>
              <a:buFont typeface="Arial" panose="020B0604020202020204" pitchFamily="34" charset="0"/>
              <a:buChar char="‒"/>
              <a:defRPr sz="1477">
                <a:solidFill>
                  <a:schemeClr val="tx1"/>
                </a:solidFill>
                <a:latin typeface="Calibri"/>
                <a:cs typeface="Calibri"/>
              </a:defRPr>
            </a:lvl3pPr>
            <a:lvl4pPr>
              <a:spcBef>
                <a:spcPts val="369"/>
              </a:spcBef>
              <a:buClr>
                <a:schemeClr val="tx2"/>
              </a:buClr>
              <a:defRPr sz="1969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477145" indent="-351701">
              <a:spcBef>
                <a:spcPts val="369"/>
              </a:spcBef>
              <a:buClr>
                <a:schemeClr val="tx2"/>
              </a:buClr>
              <a:buFont typeface="Arial" pitchFamily="34" charset="0"/>
              <a:buChar char="•"/>
              <a:defRPr sz="1969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1688165" indent="-273545">
              <a:spcBef>
                <a:spcPts val="369"/>
              </a:spcBef>
              <a:buClr>
                <a:schemeClr val="tx2"/>
              </a:buClr>
              <a:buFont typeface="Symbol" pitchFamily="18" charset="2"/>
              <a:buChar char="-"/>
              <a:defRPr sz="1969" baseline="0">
                <a:latin typeface="+mn-lt"/>
              </a:defRPr>
            </a:lvl6pPr>
          </a:lstStyle>
          <a:p>
            <a:pPr lvl="0"/>
            <a:r>
              <a:rPr lang="ru-RU" dirty="0" smtClean="0"/>
              <a:t>Блок №1 для текста или диаграммы</a:t>
            </a:r>
            <a:endParaRPr lang="en-US" dirty="0" smtClean="0"/>
          </a:p>
          <a:p>
            <a:pPr lvl="1"/>
            <a:r>
              <a:rPr lang="ru-RU" dirty="0" smtClean="0"/>
              <a:t>Второй уровень</a:t>
            </a:r>
            <a:endParaRPr lang="en-US" dirty="0" smtClean="0"/>
          </a:p>
          <a:p>
            <a:pPr lvl="2"/>
            <a:r>
              <a:rPr lang="ru-RU" dirty="0" smtClean="0"/>
              <a:t>Третий уровень</a:t>
            </a:r>
            <a:endParaRPr lang="en-US" dirty="0" smtClean="0"/>
          </a:p>
        </p:txBody>
      </p:sp>
      <p:sp>
        <p:nvSpPr>
          <p:cNvPr id="24" name="Текст 3"/>
          <p:cNvSpPr>
            <a:spLocks noGrp="1"/>
          </p:cNvSpPr>
          <p:nvPr>
            <p:ph type="body" sz="half" idx="2" hasCustomPrompt="1"/>
          </p:nvPr>
        </p:nvSpPr>
        <p:spPr>
          <a:xfrm>
            <a:off x="454903" y="5901790"/>
            <a:ext cx="11255951" cy="343740"/>
          </a:xfrm>
          <a:prstGeom prst="rect">
            <a:avLst/>
          </a:prstGeom>
        </p:spPr>
        <p:txBody>
          <a:bodyPr lIns="0" rIns="0" bIns="0">
            <a:normAutofit/>
          </a:bodyPr>
          <a:lstStyle>
            <a:lvl1pPr marL="0" indent="-2082514">
              <a:spcBef>
                <a:spcPts val="0"/>
              </a:spcBef>
              <a:spcAft>
                <a:spcPts val="0"/>
              </a:spcAft>
              <a:buNone/>
              <a:defRPr sz="1231" baseline="0">
                <a:solidFill>
                  <a:schemeClr val="bg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562722" indent="0">
              <a:buNone/>
              <a:defRPr sz="1723"/>
            </a:lvl2pPr>
            <a:lvl3pPr marL="1125444" indent="0">
              <a:buNone/>
              <a:defRPr sz="1477"/>
            </a:lvl3pPr>
            <a:lvl4pPr marL="1688165" indent="0">
              <a:buNone/>
              <a:defRPr sz="1231"/>
            </a:lvl4pPr>
            <a:lvl5pPr marL="2250887" indent="0">
              <a:buNone/>
              <a:defRPr sz="1231"/>
            </a:lvl5pPr>
            <a:lvl6pPr marL="2813609" indent="0">
              <a:buNone/>
              <a:defRPr sz="1231"/>
            </a:lvl6pPr>
            <a:lvl7pPr marL="3376331" indent="0">
              <a:buNone/>
              <a:defRPr sz="1231"/>
            </a:lvl7pPr>
            <a:lvl8pPr marL="3939052" indent="0">
              <a:buNone/>
              <a:defRPr sz="1231"/>
            </a:lvl8pPr>
            <a:lvl9pPr marL="4501774" indent="0">
              <a:buNone/>
              <a:defRPr sz="1231"/>
            </a:lvl9pPr>
          </a:lstStyle>
          <a:p>
            <a:pPr lvl="0"/>
            <a:r>
              <a:rPr lang="ru-RU" dirty="0" smtClean="0"/>
              <a:t>Источники: Введите </a:t>
            </a:r>
            <a:r>
              <a:rPr lang="en-US" dirty="0" smtClean="0"/>
              <a:t>Tab</a:t>
            </a:r>
            <a:r>
              <a:rPr lang="ru-RU" dirty="0" smtClean="0"/>
              <a:t> → </a:t>
            </a:r>
            <a:r>
              <a:rPr lang="en-US" dirty="0" smtClean="0"/>
              <a:t>“</a:t>
            </a:r>
            <a:r>
              <a:rPr lang="ru-RU" dirty="0" smtClean="0"/>
              <a:t>Источники</a:t>
            </a:r>
            <a:r>
              <a:rPr lang="en-US" dirty="0" smtClean="0"/>
              <a:t>:”</a:t>
            </a:r>
            <a:r>
              <a:rPr lang="ru-RU" dirty="0" smtClean="0"/>
              <a:t>, затем </a:t>
            </a:r>
            <a:r>
              <a:rPr lang="en-US" dirty="0" smtClean="0"/>
              <a:t>Tab</a:t>
            </a:r>
            <a:r>
              <a:rPr lang="ru-RU" dirty="0" smtClean="0"/>
              <a:t> → Укажите источник. Разделяйте несколько источников точкой с запятой</a:t>
            </a:r>
            <a:r>
              <a:rPr lang="en-US" dirty="0" smtClean="0"/>
              <a:t> (;</a:t>
            </a:r>
            <a:endParaRPr lang="ru-RU" dirty="0" smtClean="0"/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24311" y="-1"/>
            <a:ext cx="9778321" cy="809201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8380" y="233246"/>
            <a:ext cx="2084666" cy="318017"/>
          </a:xfrm>
          <a:prstGeom prst="rect">
            <a:avLst/>
          </a:prstGeom>
        </p:spPr>
      </p:pic>
      <p:sp>
        <p:nvSpPr>
          <p:cNvPr id="17" name="Прямоугольник 7"/>
          <p:cNvSpPr/>
          <p:nvPr userDrawn="1"/>
        </p:nvSpPr>
        <p:spPr>
          <a:xfrm>
            <a:off x="10763006" y="0"/>
            <a:ext cx="1386213" cy="2817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11254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31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www.rosgeo.com</a:t>
            </a:r>
          </a:p>
        </p:txBody>
      </p:sp>
      <p:sp>
        <p:nvSpPr>
          <p:cNvPr id="22" name="Заголовок 1"/>
          <p:cNvSpPr>
            <a:spLocks noGrp="1"/>
          </p:cNvSpPr>
          <p:nvPr>
            <p:ph type="title"/>
          </p:nvPr>
        </p:nvSpPr>
        <p:spPr>
          <a:xfrm>
            <a:off x="3466341" y="204306"/>
            <a:ext cx="8240532" cy="527474"/>
          </a:xfrm>
          <a:prstGeom prst="rect">
            <a:avLst/>
          </a:prstGeom>
        </p:spPr>
        <p:txBody>
          <a:bodyPr lIns="0"/>
          <a:lstStyle>
            <a:lvl1pPr>
              <a:defRPr sz="2462" b="1" i="0">
                <a:solidFill>
                  <a:srgbClr val="FFFFFF"/>
                </a:solidFill>
                <a:latin typeface="Calibri"/>
                <a:cs typeface="Calibri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27" name="Content Placeholder 18"/>
          <p:cNvSpPr>
            <a:spLocks noGrp="1"/>
          </p:cNvSpPr>
          <p:nvPr>
            <p:ph sz="quarter" idx="23" hasCustomPrompt="1"/>
          </p:nvPr>
        </p:nvSpPr>
        <p:spPr>
          <a:xfrm>
            <a:off x="757545" y="6333121"/>
            <a:ext cx="5356399" cy="336442"/>
          </a:xfrm>
          <a:prstGeom prst="rect">
            <a:avLst/>
          </a:prstGeom>
        </p:spPr>
        <p:txBody>
          <a:bodyPr lIns="45720" tIns="45720" rIns="45720" bIns="45720" anchor="t"/>
          <a:lstStyle>
            <a:lvl1pPr marL="0" indent="0">
              <a:lnSpc>
                <a:spcPts val="985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None/>
              <a:defRPr lang="en-US" sz="985" baseline="0" dirty="0">
                <a:solidFill>
                  <a:schemeClr val="bg1">
                    <a:lumMod val="75000"/>
                  </a:schemeClr>
                </a:solidFill>
                <a:latin typeface="Calibri"/>
                <a:cs typeface="Calibri"/>
              </a:defRPr>
            </a:lvl1pPr>
            <a:lvl2pPr marL="247598" indent="0">
              <a:buClr>
                <a:schemeClr val="bg2"/>
              </a:buClr>
              <a:buNone/>
              <a:defRPr lang="en-US" sz="1723" dirty="0">
                <a:latin typeface="Calibri"/>
                <a:cs typeface="Calibri"/>
              </a:defRPr>
            </a:lvl2pPr>
            <a:lvl3pPr>
              <a:buClr>
                <a:schemeClr val="bg2"/>
              </a:buClr>
              <a:defRPr lang="en-US" sz="1477" dirty="0">
                <a:latin typeface="Calibri"/>
                <a:cs typeface="Calibri"/>
              </a:defRPr>
            </a:lvl3pPr>
            <a:lvl4pPr>
              <a:defRPr lang="ru-RU" sz="1969" dirty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lang="en-US" sz="1969" baseline="0" dirty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>
              <a:spcBef>
                <a:spcPts val="369"/>
              </a:spcBef>
              <a:buClr>
                <a:schemeClr val="tx2"/>
              </a:buClr>
            </a:pPr>
            <a:r>
              <a:rPr lang="ru-RU" dirty="0" smtClean="0"/>
              <a:t>Название презентации </a:t>
            </a:r>
          </a:p>
          <a:p>
            <a:pPr lvl="0">
              <a:spcBef>
                <a:spcPts val="369"/>
              </a:spcBef>
              <a:buClr>
                <a:schemeClr val="tx2"/>
              </a:buClr>
            </a:pPr>
            <a:r>
              <a:rPr lang="ru-RU" dirty="0" smtClean="0"/>
              <a:t>обязательно в две строки</a:t>
            </a:r>
            <a:endParaRPr lang="en-US" dirty="0"/>
          </a:p>
        </p:txBody>
      </p:sp>
      <p:sp>
        <p:nvSpPr>
          <p:cNvPr id="28" name="Content Placeholder 18"/>
          <p:cNvSpPr>
            <a:spLocks noGrp="1"/>
          </p:cNvSpPr>
          <p:nvPr>
            <p:ph sz="quarter" idx="12" hasCustomPrompt="1"/>
          </p:nvPr>
        </p:nvSpPr>
        <p:spPr>
          <a:xfrm>
            <a:off x="461032" y="1182842"/>
            <a:ext cx="11238156" cy="258224"/>
          </a:xfrm>
          <a:prstGeom prst="rect">
            <a:avLst/>
          </a:prstGeom>
        </p:spPr>
        <p:txBody>
          <a:bodyPr lIns="45720" tIns="45720" rIns="45720" bIns="45720"/>
          <a:lstStyle>
            <a:lvl1pPr>
              <a:spcBef>
                <a:spcPts val="0"/>
              </a:spcBef>
              <a:buClr>
                <a:schemeClr val="tx2"/>
              </a:buClr>
              <a:defRPr sz="1969" b="1">
                <a:solidFill>
                  <a:schemeClr val="tx1"/>
                </a:solidFill>
                <a:latin typeface="Calibri"/>
                <a:cs typeface="Calibri"/>
              </a:defRPr>
            </a:lvl1pPr>
            <a:lvl2pPr marL="472686" indent="-225089">
              <a:spcBef>
                <a:spcPts val="369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723">
                <a:solidFill>
                  <a:schemeClr val="tx1"/>
                </a:solidFill>
                <a:latin typeface="Calibri"/>
                <a:cs typeface="Calibri"/>
              </a:defRPr>
            </a:lvl2pPr>
            <a:lvl3pPr marL="697776" indent="-225089">
              <a:spcBef>
                <a:spcPts val="369"/>
              </a:spcBef>
              <a:buClr>
                <a:schemeClr val="bg2"/>
              </a:buClr>
              <a:buFont typeface="Arial" panose="020B0604020202020204" pitchFamily="34" charset="0"/>
              <a:buChar char="‒"/>
              <a:defRPr sz="1477">
                <a:solidFill>
                  <a:schemeClr val="tx1"/>
                </a:solidFill>
                <a:latin typeface="Calibri"/>
                <a:cs typeface="Calibri"/>
              </a:defRPr>
            </a:lvl3pPr>
            <a:lvl4pPr>
              <a:spcBef>
                <a:spcPts val="369"/>
              </a:spcBef>
              <a:buClr>
                <a:schemeClr val="tx2"/>
              </a:buClr>
              <a:defRPr sz="1969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477145" indent="-351701">
              <a:spcBef>
                <a:spcPts val="369"/>
              </a:spcBef>
              <a:buClr>
                <a:schemeClr val="tx2"/>
              </a:buClr>
              <a:buFont typeface="Arial" pitchFamily="34" charset="0"/>
              <a:buChar char="•"/>
              <a:defRPr sz="1969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1688165" indent="-273545">
              <a:spcBef>
                <a:spcPts val="369"/>
              </a:spcBef>
              <a:buClr>
                <a:schemeClr val="tx2"/>
              </a:buClr>
              <a:buFont typeface="Symbol" pitchFamily="18" charset="2"/>
              <a:buChar char="-"/>
              <a:defRPr sz="1969" baseline="0">
                <a:latin typeface="+mn-lt"/>
              </a:defRPr>
            </a:lvl6pPr>
          </a:lstStyle>
          <a:p>
            <a:pPr lvl="0"/>
            <a:r>
              <a:rPr lang="ru-RU" dirty="0" smtClean="0"/>
              <a:t>Заголовок</a:t>
            </a:r>
            <a:endParaRPr lang="en-US" dirty="0" smtClean="0"/>
          </a:p>
        </p:txBody>
      </p:sp>
      <p:sp>
        <p:nvSpPr>
          <p:cNvPr id="29" name="Content Placeholder 18"/>
          <p:cNvSpPr>
            <a:spLocks noGrp="1"/>
          </p:cNvSpPr>
          <p:nvPr>
            <p:ph sz="quarter" idx="24" hasCustomPrompt="1"/>
          </p:nvPr>
        </p:nvSpPr>
        <p:spPr>
          <a:xfrm>
            <a:off x="461437" y="1458532"/>
            <a:ext cx="11249415" cy="258224"/>
          </a:xfrm>
          <a:prstGeom prst="rect">
            <a:avLst/>
          </a:prstGeom>
        </p:spPr>
        <p:txBody>
          <a:bodyPr lIns="45720" tIns="45720" rIns="45720" bIns="45720"/>
          <a:lstStyle>
            <a:lvl1pPr>
              <a:spcBef>
                <a:spcPts val="0"/>
              </a:spcBef>
              <a:buClr>
                <a:schemeClr val="tx2"/>
              </a:buClr>
              <a:defRPr sz="1723" b="0">
                <a:solidFill>
                  <a:schemeClr val="tx1"/>
                </a:solidFill>
                <a:latin typeface="Calibri"/>
                <a:cs typeface="Calibri"/>
              </a:defRPr>
            </a:lvl1pPr>
            <a:lvl2pPr marL="472686" indent="-225089">
              <a:spcBef>
                <a:spcPts val="369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723">
                <a:solidFill>
                  <a:schemeClr val="tx1"/>
                </a:solidFill>
                <a:latin typeface="Calibri"/>
                <a:cs typeface="Calibri"/>
              </a:defRPr>
            </a:lvl2pPr>
            <a:lvl3pPr marL="697776" indent="-225089">
              <a:spcBef>
                <a:spcPts val="369"/>
              </a:spcBef>
              <a:buClr>
                <a:schemeClr val="bg2"/>
              </a:buClr>
              <a:buFont typeface="Arial" panose="020B0604020202020204" pitchFamily="34" charset="0"/>
              <a:buChar char="‒"/>
              <a:defRPr sz="1477">
                <a:solidFill>
                  <a:schemeClr val="tx1"/>
                </a:solidFill>
                <a:latin typeface="Calibri"/>
                <a:cs typeface="Calibri"/>
              </a:defRPr>
            </a:lvl3pPr>
            <a:lvl4pPr>
              <a:spcBef>
                <a:spcPts val="369"/>
              </a:spcBef>
              <a:buClr>
                <a:schemeClr val="tx2"/>
              </a:buClr>
              <a:defRPr sz="1969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477145" indent="-351701">
              <a:spcBef>
                <a:spcPts val="369"/>
              </a:spcBef>
              <a:buClr>
                <a:schemeClr val="tx2"/>
              </a:buClr>
              <a:buFont typeface="Arial" pitchFamily="34" charset="0"/>
              <a:buChar char="•"/>
              <a:defRPr sz="1969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1688165" indent="-273545">
              <a:spcBef>
                <a:spcPts val="369"/>
              </a:spcBef>
              <a:buClr>
                <a:schemeClr val="tx2"/>
              </a:buClr>
              <a:buFont typeface="Symbol" pitchFamily="18" charset="2"/>
              <a:buChar char="-"/>
              <a:defRPr sz="1969" baseline="0">
                <a:latin typeface="+mn-lt"/>
              </a:defRPr>
            </a:lvl6pPr>
          </a:lstStyle>
          <a:p>
            <a:pPr lvl="0"/>
            <a:r>
              <a:rPr lang="ru-RU" dirty="0" smtClean="0"/>
              <a:t>Подзаголовок</a:t>
            </a:r>
            <a:endParaRPr lang="en-US" dirty="0" smtClean="0"/>
          </a:p>
        </p:txBody>
      </p:sp>
      <p:sp>
        <p:nvSpPr>
          <p:cNvPr id="15" name="Slide Number Placeholder 5"/>
          <p:cNvSpPr>
            <a:spLocks noGrp="1"/>
          </p:cNvSpPr>
          <p:nvPr>
            <p:ph type="sldNum" sz="quarter" idx="13"/>
          </p:nvPr>
        </p:nvSpPr>
        <p:spPr>
          <a:xfrm>
            <a:off x="-101599" y="6421818"/>
            <a:ext cx="667730" cy="414443"/>
          </a:xfrm>
          <a:prstGeom prst="rect">
            <a:avLst/>
          </a:prstGeom>
        </p:spPr>
        <p:txBody>
          <a:bodyPr lIns="46800" rIns="0" anchor="ctr" anchorCtr="0"/>
          <a:lstStyle>
            <a:lvl1pPr algn="r">
              <a:defRPr sz="1400" b="0">
                <a:solidFill>
                  <a:srgbClr val="EABF55"/>
                </a:solidFill>
                <a:latin typeface="Calibri"/>
                <a:cs typeface="Calibri"/>
              </a:defRPr>
            </a:lvl1pPr>
          </a:lstStyle>
          <a:p>
            <a:pPr>
              <a:defRPr/>
            </a:pPr>
            <a:fld id="{6113E31D-E2AB-40D1-8B51-AFA5AFEF393A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243318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7413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Облож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0" y="2"/>
            <a:ext cx="12192000" cy="1049866"/>
          </a:xfrm>
          <a:prstGeom prst="rect">
            <a:avLst/>
          </a:prstGeom>
          <a:solidFill>
            <a:srgbClr val="EAB622"/>
          </a:solidFill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215" dirty="0"/>
          </a:p>
        </p:txBody>
      </p:sp>
      <p:sp>
        <p:nvSpPr>
          <p:cNvPr id="11" name="Прямоугольник 7"/>
          <p:cNvSpPr/>
          <p:nvPr userDrawn="1"/>
        </p:nvSpPr>
        <p:spPr>
          <a:xfrm>
            <a:off x="257995" y="6495770"/>
            <a:ext cx="1386213" cy="2817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11254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31" b="0" i="0" u="none" strike="noStrike" kern="1200" cap="none" spc="0" normalizeH="0" baseline="0" noProof="0" dirty="0">
                <a:ln>
                  <a:noFill/>
                </a:ln>
                <a:solidFill>
                  <a:srgbClr val="EABF55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www.rosgeo.com</a:t>
            </a: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1645" y="258740"/>
            <a:ext cx="5646229" cy="5534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02881629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О документ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24311" y="-1"/>
            <a:ext cx="9778321" cy="809201"/>
          </a:xfrm>
          <a:prstGeom prst="rect">
            <a:avLst/>
          </a:prstGeom>
          <a:ln>
            <a:solidFill>
              <a:srgbClr val="EAB622"/>
            </a:solidFill>
          </a:ln>
        </p:spPr>
      </p:pic>
      <p:sp>
        <p:nvSpPr>
          <p:cNvPr id="3" name="Прямоугольник 2"/>
          <p:cNvSpPr/>
          <p:nvPr userDrawn="1"/>
        </p:nvSpPr>
        <p:spPr>
          <a:xfrm>
            <a:off x="2424555" y="3305114"/>
            <a:ext cx="10464582" cy="1001556"/>
          </a:xfrm>
          <a:prstGeom prst="rect">
            <a:avLst/>
          </a:prstGeom>
        </p:spPr>
        <p:txBody>
          <a:bodyPr wrap="square" lIns="0">
            <a:spAutoFit/>
          </a:bodyPr>
          <a:lstStyle/>
          <a:p>
            <a:pPr marL="0" marR="0" lvl="0" indent="0" algn="just" defTabSz="11254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77" b="1" i="0" u="none" strike="noStrike" kern="1200" cap="none" spc="0" normalizeH="0" baseline="0" noProof="0" dirty="0" smtClean="0">
                <a:ln>
                  <a:noFill/>
                </a:ln>
                <a:solidFill>
                  <a:srgbClr val="A6A6A6"/>
                </a:solidFill>
                <a:effectLst/>
                <a:uLnTx/>
                <a:uFillTx/>
                <a:latin typeface="Calibri"/>
                <a:ea typeface="Calibri" panose="020F0502020204030204" pitchFamily="34" charset="0"/>
                <a:cs typeface="Calibri"/>
              </a:rPr>
              <a:t>Документ</a:t>
            </a:r>
            <a:r>
              <a:rPr kumimoji="0" lang="ru-RU" sz="1477" b="0" i="0" u="none" strike="noStrike" kern="1200" cap="none" spc="0" normalizeH="0" baseline="0" noProof="0" dirty="0" smtClean="0">
                <a:ln>
                  <a:noFill/>
                </a:ln>
                <a:solidFill>
                  <a:srgbClr val="A6A6A6"/>
                </a:solidFill>
                <a:effectLst/>
                <a:uLnTx/>
                <a:uFillTx/>
                <a:latin typeface="Calibri"/>
                <a:ea typeface="Calibri" panose="020F0502020204030204" pitchFamily="34" charset="0"/>
                <a:cs typeface="Calibri"/>
              </a:rPr>
              <a:t> </a:t>
            </a:r>
          </a:p>
          <a:p>
            <a:pPr marL="281361" marR="0" lvl="0" indent="0" algn="just" defTabSz="11254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77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Calibri" panose="020F0502020204030204" pitchFamily="34" charset="0"/>
                <a:cs typeface="Calibri"/>
              </a:rPr>
              <a:t> </a:t>
            </a:r>
          </a:p>
          <a:p>
            <a:pPr marL="281361" marR="0" lvl="0" indent="0" algn="just" defTabSz="11254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77" b="0" i="0" u="none" strike="noStrike" kern="120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Calibri" panose="020F0502020204030204" pitchFamily="34" charset="0"/>
              <a:cs typeface="Calibri"/>
            </a:endParaRPr>
          </a:p>
          <a:p>
            <a:pPr marL="0" marR="0" lvl="0" indent="0" algn="just" defTabSz="11254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77" b="1" i="0" u="none" strike="noStrike" kern="1200" cap="none" spc="0" normalizeH="0" baseline="0" noProof="0" dirty="0" smtClean="0">
                <a:ln>
                  <a:noFill/>
                </a:ln>
                <a:solidFill>
                  <a:srgbClr val="A6A6A6"/>
                </a:solidFill>
                <a:effectLst/>
                <a:uLnTx/>
                <a:uFillTx/>
                <a:latin typeface="Calibri"/>
                <a:ea typeface="Calibri" panose="020F0502020204030204" pitchFamily="34" charset="0"/>
                <a:cs typeface="Calibri"/>
              </a:rPr>
              <a:t>Подготовлен</a:t>
            </a:r>
            <a:r>
              <a:rPr kumimoji="0" lang="ru-RU" sz="1477" b="0" i="0" u="none" strike="noStrike" kern="1200" cap="none" spc="0" normalizeH="0" baseline="0" noProof="0" dirty="0" smtClean="0">
                <a:ln>
                  <a:noFill/>
                </a:ln>
                <a:solidFill>
                  <a:srgbClr val="A6A6A6"/>
                </a:solidFill>
                <a:effectLst/>
                <a:uLnTx/>
                <a:uFillTx/>
                <a:latin typeface="Calibri"/>
                <a:ea typeface="Calibri" panose="020F0502020204030204" pitchFamily="34" charset="0"/>
                <a:cs typeface="Calibri"/>
              </a:rPr>
              <a:t> </a:t>
            </a:r>
          </a:p>
        </p:txBody>
      </p:sp>
      <p:sp>
        <p:nvSpPr>
          <p:cNvPr id="10" name="Text Placeholder 33"/>
          <p:cNvSpPr>
            <a:spLocks noGrp="1"/>
          </p:cNvSpPr>
          <p:nvPr>
            <p:ph type="body" sz="quarter" idx="18" hasCustomPrompt="1"/>
          </p:nvPr>
        </p:nvSpPr>
        <p:spPr>
          <a:xfrm>
            <a:off x="2424555" y="3576557"/>
            <a:ext cx="9236690" cy="208443"/>
          </a:xfrm>
          <a:prstGeom prst="rect">
            <a:avLst/>
          </a:prstGeom>
        </p:spPr>
        <p:txBody>
          <a:bodyPr lIns="0" tIns="0" rIns="0" bIns="0"/>
          <a:lstStyle>
            <a:lvl1pPr>
              <a:buFontTx/>
              <a:buNone/>
              <a:defRPr sz="1477" b="0" baseline="0">
                <a:solidFill>
                  <a:schemeClr val="tx1"/>
                </a:solidFill>
                <a:latin typeface="Calibri"/>
                <a:cs typeface="Calibri"/>
              </a:defRPr>
            </a:lvl1pPr>
            <a:lvl2pPr>
              <a:buFontTx/>
              <a:buNone/>
              <a:defRPr sz="1477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2pPr>
            <a:lvl3pPr>
              <a:buFontTx/>
              <a:buNone/>
              <a:defRPr sz="1477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3pPr>
            <a:lvl4pPr>
              <a:buFontTx/>
              <a:buNone/>
              <a:defRPr sz="1477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4pPr>
            <a:lvl5pPr>
              <a:buFontTx/>
              <a:buNone/>
              <a:defRPr sz="1477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5pPr>
          </a:lstStyle>
          <a:p>
            <a:pPr lvl="0"/>
            <a:r>
              <a:rPr lang="ru-RU" dirty="0" smtClean="0"/>
              <a:t>[Версия: номер версии от дата версии]</a:t>
            </a:r>
          </a:p>
        </p:txBody>
      </p:sp>
      <p:sp>
        <p:nvSpPr>
          <p:cNvPr id="11" name="Text Placeholder 33"/>
          <p:cNvSpPr>
            <a:spLocks noGrp="1"/>
          </p:cNvSpPr>
          <p:nvPr>
            <p:ph type="body" sz="quarter" idx="19" hasCustomPrompt="1"/>
          </p:nvPr>
        </p:nvSpPr>
        <p:spPr>
          <a:xfrm>
            <a:off x="2424555" y="4118080"/>
            <a:ext cx="9236690" cy="209395"/>
          </a:xfrm>
          <a:prstGeom prst="rect">
            <a:avLst/>
          </a:prstGeom>
        </p:spPr>
        <p:txBody>
          <a:bodyPr lIns="0" tIns="0" rIns="0" bIns="0"/>
          <a:lstStyle>
            <a:lvl1pPr>
              <a:buFontTx/>
              <a:buNone/>
              <a:defRPr sz="1477" b="0" baseline="0">
                <a:solidFill>
                  <a:schemeClr val="tx1"/>
                </a:solidFill>
                <a:latin typeface="Calibri"/>
                <a:cs typeface="Calibri"/>
              </a:defRPr>
            </a:lvl1pPr>
            <a:lvl2pPr>
              <a:buFontTx/>
              <a:buNone/>
              <a:defRPr sz="1477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2pPr>
            <a:lvl3pPr>
              <a:buFontTx/>
              <a:buNone/>
              <a:defRPr sz="1477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3pPr>
            <a:lvl4pPr>
              <a:buFontTx/>
              <a:buNone/>
              <a:defRPr sz="1477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4pPr>
            <a:lvl5pPr>
              <a:buFontTx/>
              <a:buNone/>
              <a:defRPr sz="1477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5pPr>
          </a:lstStyle>
          <a:p>
            <a:pPr lvl="0"/>
            <a:r>
              <a:rPr lang="ru-RU" dirty="0" smtClean="0"/>
              <a:t>[Автор(ы)]</a:t>
            </a:r>
          </a:p>
          <a:p>
            <a:pPr lvl="0"/>
            <a:endParaRPr lang="ru-RU" dirty="0" smtClean="0"/>
          </a:p>
        </p:txBody>
      </p:sp>
      <p:sp>
        <p:nvSpPr>
          <p:cNvPr id="12" name="Text Placeholder 33"/>
          <p:cNvSpPr>
            <a:spLocks noGrp="1"/>
          </p:cNvSpPr>
          <p:nvPr>
            <p:ph type="body" sz="quarter" idx="20" hasCustomPrompt="1"/>
          </p:nvPr>
        </p:nvSpPr>
        <p:spPr>
          <a:xfrm>
            <a:off x="2424555" y="4378165"/>
            <a:ext cx="9236690" cy="195890"/>
          </a:xfrm>
          <a:prstGeom prst="rect">
            <a:avLst/>
          </a:prstGeom>
        </p:spPr>
        <p:txBody>
          <a:bodyPr lIns="0" tIns="0" rIns="0" bIns="0"/>
          <a:lstStyle>
            <a:lvl1pPr>
              <a:buFontTx/>
              <a:buNone/>
              <a:defRPr sz="1477" b="0" baseline="0">
                <a:solidFill>
                  <a:schemeClr val="tx1"/>
                </a:solidFill>
                <a:latin typeface="Calibri"/>
                <a:cs typeface="Calibri"/>
              </a:defRPr>
            </a:lvl1pPr>
            <a:lvl2pPr>
              <a:buFontTx/>
              <a:buNone/>
              <a:defRPr sz="1477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2pPr>
            <a:lvl3pPr>
              <a:buFontTx/>
              <a:buNone/>
              <a:defRPr sz="1477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3pPr>
            <a:lvl4pPr>
              <a:buFontTx/>
              <a:buNone/>
              <a:defRPr sz="1477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4pPr>
            <a:lvl5pPr>
              <a:buFontTx/>
              <a:buNone/>
              <a:defRPr sz="1477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5pPr>
          </a:lstStyle>
          <a:p>
            <a:pPr lvl="0"/>
            <a:r>
              <a:rPr lang="ru-RU" dirty="0" smtClean="0"/>
              <a:t>[Структурное подразделение]</a:t>
            </a:r>
          </a:p>
        </p:txBody>
      </p:sp>
      <p:sp>
        <p:nvSpPr>
          <p:cNvPr id="13" name="Text Placeholder 33"/>
          <p:cNvSpPr>
            <a:spLocks noGrp="1"/>
          </p:cNvSpPr>
          <p:nvPr>
            <p:ph type="body" sz="quarter" idx="21" hasCustomPrompt="1"/>
          </p:nvPr>
        </p:nvSpPr>
        <p:spPr>
          <a:xfrm>
            <a:off x="2424555" y="4638250"/>
            <a:ext cx="9236690" cy="207043"/>
          </a:xfrm>
          <a:prstGeom prst="rect">
            <a:avLst/>
          </a:prstGeom>
        </p:spPr>
        <p:txBody>
          <a:bodyPr lIns="0" tIns="0" rIns="0" bIns="0"/>
          <a:lstStyle>
            <a:lvl1pPr>
              <a:buFontTx/>
              <a:buNone/>
              <a:defRPr sz="1477" b="0" baseline="0">
                <a:solidFill>
                  <a:schemeClr val="tx1"/>
                </a:solidFill>
                <a:latin typeface="Calibri"/>
                <a:cs typeface="Calibri"/>
              </a:defRPr>
            </a:lvl1pPr>
            <a:lvl2pPr>
              <a:buFontTx/>
              <a:buNone/>
              <a:defRPr sz="1477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2pPr>
            <a:lvl3pPr>
              <a:buFontTx/>
              <a:buNone/>
              <a:defRPr sz="1477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3pPr>
            <a:lvl4pPr>
              <a:buFontTx/>
              <a:buNone/>
              <a:defRPr sz="1477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4pPr>
            <a:lvl5pPr>
              <a:buFontTx/>
              <a:buNone/>
              <a:defRPr sz="1477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5pPr>
          </a:lstStyle>
          <a:p>
            <a:pPr lvl="0"/>
            <a:r>
              <a:rPr lang="ru-RU" dirty="0" smtClean="0"/>
              <a:t>[Телефон]</a:t>
            </a:r>
          </a:p>
        </p:txBody>
      </p:sp>
      <p:sp>
        <p:nvSpPr>
          <p:cNvPr id="14" name="Text Placeholder 33"/>
          <p:cNvSpPr>
            <a:spLocks noGrp="1"/>
          </p:cNvSpPr>
          <p:nvPr>
            <p:ph type="body" sz="quarter" idx="22" hasCustomPrompt="1"/>
          </p:nvPr>
        </p:nvSpPr>
        <p:spPr>
          <a:xfrm>
            <a:off x="2424555" y="4898336"/>
            <a:ext cx="9236690" cy="218194"/>
          </a:xfrm>
          <a:prstGeom prst="rect">
            <a:avLst/>
          </a:prstGeom>
        </p:spPr>
        <p:txBody>
          <a:bodyPr lIns="0" tIns="0" rIns="0" bIns="0"/>
          <a:lstStyle>
            <a:lvl1pPr>
              <a:buFontTx/>
              <a:buNone/>
              <a:defRPr sz="1477" b="0" baseline="0">
                <a:solidFill>
                  <a:schemeClr val="tx1"/>
                </a:solidFill>
                <a:latin typeface="Calibri"/>
                <a:cs typeface="Calibri"/>
              </a:defRPr>
            </a:lvl1pPr>
            <a:lvl2pPr>
              <a:buFontTx/>
              <a:buNone/>
              <a:defRPr sz="1477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2pPr>
            <a:lvl3pPr>
              <a:buFontTx/>
              <a:buNone/>
              <a:defRPr sz="1477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3pPr>
            <a:lvl4pPr>
              <a:buFontTx/>
              <a:buNone/>
              <a:defRPr sz="1477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4pPr>
            <a:lvl5pPr>
              <a:buFontTx/>
              <a:buNone/>
              <a:defRPr sz="1477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5pPr>
          </a:lstStyle>
          <a:p>
            <a:pPr lvl="0"/>
            <a:r>
              <a:rPr lang="en-US" dirty="0" smtClean="0"/>
              <a:t>[Email]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8380" y="233246"/>
            <a:ext cx="2084666" cy="318017"/>
          </a:xfrm>
          <a:prstGeom prst="rect">
            <a:avLst/>
          </a:prstGeom>
        </p:spPr>
      </p:pic>
      <p:sp>
        <p:nvSpPr>
          <p:cNvPr id="15" name="Slide Number Placeholder 5"/>
          <p:cNvSpPr>
            <a:spLocks noGrp="1"/>
          </p:cNvSpPr>
          <p:nvPr>
            <p:ph type="sldNum" sz="quarter" idx="13"/>
          </p:nvPr>
        </p:nvSpPr>
        <p:spPr>
          <a:xfrm>
            <a:off x="-101599" y="6421818"/>
            <a:ext cx="667730" cy="414443"/>
          </a:xfrm>
          <a:prstGeom prst="rect">
            <a:avLst/>
          </a:prstGeom>
        </p:spPr>
        <p:txBody>
          <a:bodyPr lIns="46800" rIns="0" anchor="ctr" anchorCtr="0"/>
          <a:lstStyle>
            <a:lvl1pPr algn="r">
              <a:defRPr sz="1400" b="0">
                <a:solidFill>
                  <a:srgbClr val="EABF55"/>
                </a:solidFill>
                <a:latin typeface="Calibri"/>
                <a:cs typeface="Calibri"/>
              </a:defRPr>
            </a:lvl1pPr>
          </a:lstStyle>
          <a:p>
            <a:pPr>
              <a:defRPr/>
            </a:pPr>
            <a:fld id="{6113E31D-E2AB-40D1-8B51-AFA5AFEF393A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22" name="Прямоугольник 7"/>
          <p:cNvSpPr/>
          <p:nvPr userDrawn="1"/>
        </p:nvSpPr>
        <p:spPr>
          <a:xfrm>
            <a:off x="10763006" y="0"/>
            <a:ext cx="1386213" cy="2817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11254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31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www.rosgeo.com</a:t>
            </a:r>
          </a:p>
        </p:txBody>
      </p:sp>
      <p:sp>
        <p:nvSpPr>
          <p:cNvPr id="26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424311" y="2678065"/>
            <a:ext cx="9236933" cy="527474"/>
          </a:xfrm>
          <a:prstGeom prst="rect">
            <a:avLst/>
          </a:prstGeom>
        </p:spPr>
        <p:txBody>
          <a:bodyPr lIns="0"/>
          <a:lstStyle>
            <a:lvl1pPr>
              <a:defRPr sz="2462" b="1" i="0">
                <a:solidFill>
                  <a:schemeClr val="tx1"/>
                </a:solidFill>
                <a:latin typeface="Calibri"/>
                <a:cs typeface="Calibri"/>
              </a:defRPr>
            </a:lvl1pPr>
          </a:lstStyle>
          <a:p>
            <a:r>
              <a:rPr lang="ru-RU" dirty="0" smtClean="0"/>
              <a:t>О Документе</a:t>
            </a:r>
            <a:endParaRPr lang="ru-RU" dirty="0"/>
          </a:p>
        </p:txBody>
      </p:sp>
      <p:sp>
        <p:nvSpPr>
          <p:cNvPr id="17" name="Content Placeholder 18"/>
          <p:cNvSpPr>
            <a:spLocks noGrp="1"/>
          </p:cNvSpPr>
          <p:nvPr>
            <p:ph sz="quarter" idx="23" hasCustomPrompt="1"/>
          </p:nvPr>
        </p:nvSpPr>
        <p:spPr>
          <a:xfrm>
            <a:off x="757545" y="6333121"/>
            <a:ext cx="5356399" cy="336442"/>
          </a:xfrm>
          <a:prstGeom prst="rect">
            <a:avLst/>
          </a:prstGeom>
        </p:spPr>
        <p:txBody>
          <a:bodyPr lIns="45720" tIns="45720" rIns="45720" bIns="45720" anchor="t"/>
          <a:lstStyle>
            <a:lvl1pPr marL="0" indent="0">
              <a:lnSpc>
                <a:spcPts val="985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None/>
              <a:defRPr lang="en-US" sz="985" baseline="0" dirty="0">
                <a:solidFill>
                  <a:schemeClr val="bg1">
                    <a:lumMod val="75000"/>
                  </a:schemeClr>
                </a:solidFill>
                <a:latin typeface="Calibri"/>
                <a:cs typeface="Calibri"/>
              </a:defRPr>
            </a:lvl1pPr>
            <a:lvl2pPr marL="247598" indent="0">
              <a:buClr>
                <a:schemeClr val="bg2"/>
              </a:buClr>
              <a:buNone/>
              <a:defRPr lang="en-US" sz="1723" dirty="0">
                <a:latin typeface="Calibri"/>
                <a:cs typeface="Calibri"/>
              </a:defRPr>
            </a:lvl2pPr>
            <a:lvl3pPr>
              <a:buClr>
                <a:schemeClr val="bg2"/>
              </a:buClr>
              <a:defRPr lang="en-US" sz="1477" dirty="0">
                <a:latin typeface="Calibri"/>
                <a:cs typeface="Calibri"/>
              </a:defRPr>
            </a:lvl3pPr>
            <a:lvl4pPr>
              <a:defRPr lang="ru-RU" sz="1969" dirty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lang="en-US" sz="1969" baseline="0" dirty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>
              <a:spcBef>
                <a:spcPts val="369"/>
              </a:spcBef>
              <a:buClr>
                <a:schemeClr val="tx2"/>
              </a:buClr>
            </a:pPr>
            <a:r>
              <a:rPr lang="ru-RU" dirty="0" smtClean="0"/>
              <a:t>Название презентации </a:t>
            </a:r>
          </a:p>
          <a:p>
            <a:pPr lvl="0">
              <a:spcBef>
                <a:spcPts val="369"/>
              </a:spcBef>
              <a:buClr>
                <a:schemeClr val="tx2"/>
              </a:buClr>
            </a:pPr>
            <a:r>
              <a:rPr lang="ru-RU" dirty="0" smtClean="0"/>
              <a:t>обязательно в две строки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77756406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7413">
          <p15:clr>
            <a:srgbClr val="FBAE40"/>
          </p15:clr>
        </p15:guide>
        <p15:guide id="2" pos="714">
          <p15:clr>
            <a:srgbClr val="FBAE40"/>
          </p15:clr>
        </p15:guide>
        <p15:guide id="3" pos="3840">
          <p15:clr>
            <a:srgbClr val="FBAE40"/>
          </p15:clr>
        </p15:guide>
        <p15:guide id="4" orient="horz" pos="2160">
          <p15:clr>
            <a:srgbClr val="FBAE40"/>
          </p15:clr>
        </p15:guide>
        <p15:guide id="5" orient="horz" pos="859">
          <p15:clr>
            <a:srgbClr val="FBAE40"/>
          </p15:clr>
        </p15:guide>
        <p15:guide id="6" orient="horz" pos="1016">
          <p15:clr>
            <a:srgbClr val="FBAE40"/>
          </p15:clr>
        </p15:guide>
        <p15:guide id="7" orient="horz" pos="1244">
          <p15:clr>
            <a:srgbClr val="FBAE40"/>
          </p15:clr>
        </p15:guide>
        <p15:guide id="8" orient="horz" pos="3770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Оглавл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24311" y="-1"/>
            <a:ext cx="9778321" cy="809201"/>
          </a:xfrm>
          <a:prstGeom prst="rect">
            <a:avLst/>
          </a:prstGeom>
        </p:spPr>
      </p:pic>
      <p:sp>
        <p:nvSpPr>
          <p:cNvPr id="12" name="Text Placeholder 11"/>
          <p:cNvSpPr>
            <a:spLocks noGrp="1"/>
          </p:cNvSpPr>
          <p:nvPr>
            <p:ph type="body" sz="quarter" idx="12" hasCustomPrompt="1"/>
            <p:custDataLst>
              <p:tags r:id="rId1"/>
            </p:custDataLst>
          </p:nvPr>
        </p:nvSpPr>
        <p:spPr>
          <a:xfrm>
            <a:off x="2262854" y="1070934"/>
            <a:ext cx="8363227" cy="4947143"/>
          </a:xfrm>
          <a:prstGeom prst="rect">
            <a:avLst/>
          </a:prstGeom>
          <a:noFill/>
          <a:ln w="19050" algn="ctr">
            <a:noFill/>
            <a:miter lim="800000"/>
            <a:headEnd/>
            <a:tailEnd/>
          </a:ln>
          <a:effectLst/>
        </p:spPr>
        <p:txBody>
          <a:bodyPr vert="horz" wrap="square" lIns="91440" tIns="45720" rIns="45720" bIns="45720" numCol="1" anchor="ctr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ts val="1477"/>
              </a:spcBef>
              <a:spcAft>
                <a:spcPct val="0"/>
              </a:spcAft>
              <a:buClr>
                <a:schemeClr val="tx2"/>
              </a:buClr>
              <a:defRPr kumimoji="1" lang="en-US" sz="2215" b="1" dirty="0" smtClean="0">
                <a:solidFill>
                  <a:schemeClr val="bg2"/>
                </a:solidFill>
                <a:latin typeface="Calibri"/>
                <a:ea typeface="+mn-ea"/>
                <a:cs typeface="Calibri"/>
              </a:defRPr>
            </a:lvl1pPr>
            <a:lvl2pPr marL="472686" indent="-225089" algn="l" rtl="0" eaLnBrk="1" fontAlgn="base" hangingPunct="1">
              <a:spcBef>
                <a:spcPts val="369"/>
              </a:spcBef>
              <a:spcAft>
                <a:spcPct val="0"/>
              </a:spcAft>
              <a:buClr>
                <a:schemeClr val="bg2"/>
              </a:buClr>
              <a:buFont typeface="Wingdings" panose="05000000000000000000" pitchFamily="2" charset="2"/>
              <a:buChar char="§"/>
              <a:defRPr kumimoji="1" lang="en-US" sz="2215" dirty="0" smtClean="0">
                <a:solidFill>
                  <a:schemeClr val="tx1"/>
                </a:solidFill>
                <a:latin typeface="Calibri"/>
                <a:ea typeface="+mn-ea"/>
                <a:cs typeface="Calibri"/>
              </a:defRPr>
            </a:lvl2pPr>
            <a:lvl3pPr algn="l" rtl="0" eaLnBrk="1" fontAlgn="base" hangingPunct="1">
              <a:spcBef>
                <a:spcPts val="369"/>
              </a:spcBef>
              <a:spcAft>
                <a:spcPct val="0"/>
              </a:spcAft>
              <a:buClr>
                <a:schemeClr val="tx2"/>
              </a:buClr>
              <a:defRPr kumimoji="1" lang="en-US" sz="2215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algn="l" rtl="0" eaLnBrk="1" fontAlgn="base" hangingPunct="1">
              <a:spcBef>
                <a:spcPts val="369"/>
              </a:spcBef>
              <a:spcAft>
                <a:spcPct val="0"/>
              </a:spcAft>
              <a:buClr>
                <a:schemeClr val="tx2"/>
              </a:buClr>
              <a:defRPr kumimoji="1" lang="en-US" sz="2215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algn="l" rtl="0" eaLnBrk="1" fontAlgn="base" hangingPunct="1">
              <a:spcBef>
                <a:spcPts val="369"/>
              </a:spcBef>
              <a:spcAft>
                <a:spcPct val="0"/>
              </a:spcAft>
              <a:buClr>
                <a:schemeClr val="tx2"/>
              </a:buClr>
              <a:defRPr kumimoji="1" lang="en-US" sz="2215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5pPr>
            <a:lvl6pPr algn="l" rtl="0" eaLnBrk="1" fontAlgn="base" hangingPunct="1">
              <a:spcBef>
                <a:spcPts val="369"/>
              </a:spcBef>
              <a:spcAft>
                <a:spcPct val="0"/>
              </a:spcAft>
              <a:buClr>
                <a:schemeClr val="tx2"/>
              </a:buClr>
              <a:defRPr kumimoji="1" lang="en-US" sz="2215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6pPr>
          </a:lstStyle>
          <a:p>
            <a:pPr>
              <a:spcBef>
                <a:spcPts val="1200"/>
              </a:spcBef>
            </a:pPr>
            <a:r>
              <a:rPr lang="ru-RU" dirty="0" smtClean="0"/>
              <a:t>Заголовок Секции №1</a:t>
            </a:r>
            <a:endParaRPr lang="en-US" dirty="0" smtClean="0"/>
          </a:p>
          <a:p>
            <a:pPr lvl="1"/>
            <a:r>
              <a:rPr lang="ru-RU" dirty="0" smtClean="0"/>
              <a:t>Подзаголовок Секции №1</a:t>
            </a:r>
            <a:endParaRPr lang="en-US" dirty="0" smtClean="0"/>
          </a:p>
          <a:p>
            <a:pPr>
              <a:spcBef>
                <a:spcPts val="1200"/>
              </a:spcBef>
            </a:pPr>
            <a:r>
              <a:rPr lang="ru-RU" dirty="0" smtClean="0"/>
              <a:t>Заголовок Секции №2</a:t>
            </a:r>
            <a:endParaRPr lang="en-US" dirty="0" smtClean="0"/>
          </a:p>
          <a:p>
            <a:pPr lvl="1"/>
            <a:r>
              <a:rPr lang="ru-RU" dirty="0" smtClean="0"/>
              <a:t>Подзаголовок Секции №2</a:t>
            </a:r>
            <a:endParaRPr lang="en-US" dirty="0" smtClean="0"/>
          </a:p>
        </p:txBody>
      </p:sp>
      <p:sp>
        <p:nvSpPr>
          <p:cNvPr id="17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413176" y="230226"/>
            <a:ext cx="9326089" cy="527474"/>
          </a:xfrm>
          <a:prstGeom prst="rect">
            <a:avLst/>
          </a:prstGeom>
        </p:spPr>
        <p:txBody>
          <a:bodyPr lIns="0"/>
          <a:lstStyle>
            <a:lvl1pPr>
              <a:defRPr sz="2462" b="1" i="0">
                <a:solidFill>
                  <a:schemeClr val="bg1"/>
                </a:solidFill>
                <a:latin typeface="Calibri"/>
                <a:cs typeface="Calibri"/>
              </a:defRPr>
            </a:lvl1pPr>
          </a:lstStyle>
          <a:p>
            <a:r>
              <a:rPr lang="ru-RU" dirty="0" smtClean="0"/>
              <a:t>ОГЛАВЛЕНИЕ</a:t>
            </a:r>
            <a:endParaRPr lang="ru-RU" dirty="0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8380" y="233246"/>
            <a:ext cx="2084666" cy="318017"/>
          </a:xfrm>
          <a:prstGeom prst="rect">
            <a:avLst/>
          </a:prstGeom>
        </p:spPr>
      </p:pic>
      <p:sp>
        <p:nvSpPr>
          <p:cNvPr id="13" name="Прямоугольник 7"/>
          <p:cNvSpPr/>
          <p:nvPr userDrawn="1"/>
        </p:nvSpPr>
        <p:spPr>
          <a:xfrm>
            <a:off x="10763006" y="0"/>
            <a:ext cx="1386213" cy="2817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11254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31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www.rosgeo.com</a:t>
            </a:r>
          </a:p>
        </p:txBody>
      </p:sp>
      <p:sp>
        <p:nvSpPr>
          <p:cNvPr id="18" name="Content Placeholder 18"/>
          <p:cNvSpPr>
            <a:spLocks noGrp="1"/>
          </p:cNvSpPr>
          <p:nvPr>
            <p:ph sz="quarter" idx="23" hasCustomPrompt="1"/>
          </p:nvPr>
        </p:nvSpPr>
        <p:spPr>
          <a:xfrm>
            <a:off x="757545" y="6333121"/>
            <a:ext cx="5356399" cy="336442"/>
          </a:xfrm>
          <a:prstGeom prst="rect">
            <a:avLst/>
          </a:prstGeom>
        </p:spPr>
        <p:txBody>
          <a:bodyPr lIns="45720" tIns="45720" rIns="45720" bIns="45720" anchor="t"/>
          <a:lstStyle>
            <a:lvl1pPr marL="0" indent="0">
              <a:lnSpc>
                <a:spcPts val="985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None/>
              <a:defRPr lang="en-US" sz="985" baseline="0" dirty="0">
                <a:solidFill>
                  <a:schemeClr val="bg1">
                    <a:lumMod val="75000"/>
                  </a:schemeClr>
                </a:solidFill>
                <a:latin typeface="Calibri"/>
                <a:cs typeface="Calibri"/>
              </a:defRPr>
            </a:lvl1pPr>
            <a:lvl2pPr marL="247598" indent="0">
              <a:buClr>
                <a:schemeClr val="bg2"/>
              </a:buClr>
              <a:buNone/>
              <a:defRPr lang="en-US" sz="1723" dirty="0">
                <a:latin typeface="Calibri"/>
                <a:cs typeface="Calibri"/>
              </a:defRPr>
            </a:lvl2pPr>
            <a:lvl3pPr>
              <a:buClr>
                <a:schemeClr val="bg2"/>
              </a:buClr>
              <a:defRPr lang="en-US" sz="1477" dirty="0">
                <a:latin typeface="Calibri"/>
                <a:cs typeface="Calibri"/>
              </a:defRPr>
            </a:lvl3pPr>
            <a:lvl4pPr>
              <a:defRPr lang="ru-RU" sz="1969" dirty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lang="en-US" sz="1969" baseline="0" dirty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>
              <a:spcBef>
                <a:spcPts val="369"/>
              </a:spcBef>
              <a:buClr>
                <a:schemeClr val="tx2"/>
              </a:buClr>
            </a:pPr>
            <a:r>
              <a:rPr lang="ru-RU" dirty="0" smtClean="0"/>
              <a:t>Название презентации </a:t>
            </a:r>
          </a:p>
          <a:p>
            <a:pPr lvl="0">
              <a:spcBef>
                <a:spcPts val="369"/>
              </a:spcBef>
              <a:buClr>
                <a:schemeClr val="tx2"/>
              </a:buClr>
            </a:pPr>
            <a:r>
              <a:rPr lang="ru-RU" dirty="0" smtClean="0"/>
              <a:t>обязательно в две строки</a:t>
            </a:r>
            <a:endParaRPr lang="en-US" dirty="0"/>
          </a:p>
        </p:txBody>
      </p:sp>
      <p:sp>
        <p:nvSpPr>
          <p:cNvPr id="14" name="Slide Number Placeholder 5"/>
          <p:cNvSpPr>
            <a:spLocks noGrp="1"/>
          </p:cNvSpPr>
          <p:nvPr>
            <p:ph type="sldNum" sz="quarter" idx="13"/>
          </p:nvPr>
        </p:nvSpPr>
        <p:spPr>
          <a:xfrm>
            <a:off x="-101599" y="6421818"/>
            <a:ext cx="667730" cy="414443"/>
          </a:xfrm>
          <a:prstGeom prst="rect">
            <a:avLst/>
          </a:prstGeom>
        </p:spPr>
        <p:txBody>
          <a:bodyPr lIns="46800" rIns="0" anchor="ctr" anchorCtr="0"/>
          <a:lstStyle>
            <a:lvl1pPr algn="r">
              <a:defRPr sz="1400" b="0">
                <a:solidFill>
                  <a:srgbClr val="EABF55"/>
                </a:solidFill>
                <a:latin typeface="Calibri"/>
                <a:cs typeface="Calibri"/>
              </a:defRPr>
            </a:lvl1pPr>
          </a:lstStyle>
          <a:p>
            <a:pPr>
              <a:defRPr/>
            </a:pPr>
            <a:fld id="{6113E31D-E2AB-40D1-8B51-AFA5AFEF393A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046496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24311" y="-1"/>
            <a:ext cx="9778321" cy="809201"/>
          </a:xfrm>
          <a:prstGeom prst="rect">
            <a:avLst/>
          </a:prstGeom>
        </p:spPr>
      </p:pic>
      <p:sp>
        <p:nvSpPr>
          <p:cNvPr id="5" name="Заголовок 1"/>
          <p:cNvSpPr>
            <a:spLocks noGrp="1"/>
          </p:cNvSpPr>
          <p:nvPr>
            <p:ph type="title"/>
          </p:nvPr>
        </p:nvSpPr>
        <p:spPr>
          <a:xfrm>
            <a:off x="3466341" y="204306"/>
            <a:ext cx="8240532" cy="527474"/>
          </a:xfrm>
          <a:prstGeom prst="rect">
            <a:avLst/>
          </a:prstGeom>
        </p:spPr>
        <p:txBody>
          <a:bodyPr lIns="0"/>
          <a:lstStyle>
            <a:lvl1pPr>
              <a:defRPr sz="2462" b="1" i="0">
                <a:solidFill>
                  <a:srgbClr val="FFFFFF"/>
                </a:solidFill>
                <a:latin typeface="Calibri"/>
                <a:cs typeface="Calibri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pic>
        <p:nvPicPr>
          <p:cNvPr id="17" name="Picture 16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8380" y="233246"/>
            <a:ext cx="2084666" cy="318017"/>
          </a:xfrm>
          <a:prstGeom prst="rect">
            <a:avLst/>
          </a:prstGeom>
        </p:spPr>
      </p:pic>
      <p:sp>
        <p:nvSpPr>
          <p:cNvPr id="20" name="Прямоугольник 7"/>
          <p:cNvSpPr/>
          <p:nvPr userDrawn="1"/>
        </p:nvSpPr>
        <p:spPr>
          <a:xfrm>
            <a:off x="10763006" y="0"/>
            <a:ext cx="1386213" cy="2817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11254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31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www.rosgeo.com</a:t>
            </a:r>
          </a:p>
        </p:txBody>
      </p:sp>
      <p:sp>
        <p:nvSpPr>
          <p:cNvPr id="22" name="Content Placeholder 18"/>
          <p:cNvSpPr>
            <a:spLocks noGrp="1"/>
          </p:cNvSpPr>
          <p:nvPr>
            <p:ph sz="quarter" idx="23" hasCustomPrompt="1"/>
          </p:nvPr>
        </p:nvSpPr>
        <p:spPr>
          <a:xfrm>
            <a:off x="757545" y="6333121"/>
            <a:ext cx="5356399" cy="336442"/>
          </a:xfrm>
          <a:prstGeom prst="rect">
            <a:avLst/>
          </a:prstGeom>
        </p:spPr>
        <p:txBody>
          <a:bodyPr lIns="45720" tIns="45720" rIns="45720" bIns="45720" anchor="t"/>
          <a:lstStyle>
            <a:lvl1pPr marL="0" indent="0">
              <a:lnSpc>
                <a:spcPts val="985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None/>
              <a:defRPr lang="en-US" sz="985" baseline="0" dirty="0">
                <a:solidFill>
                  <a:schemeClr val="bg1">
                    <a:lumMod val="75000"/>
                  </a:schemeClr>
                </a:solidFill>
                <a:latin typeface="Calibri"/>
                <a:cs typeface="Calibri"/>
              </a:defRPr>
            </a:lvl1pPr>
            <a:lvl2pPr marL="247598" indent="0">
              <a:buClr>
                <a:schemeClr val="bg2"/>
              </a:buClr>
              <a:buNone/>
              <a:defRPr lang="en-US" sz="1723" dirty="0">
                <a:latin typeface="Calibri"/>
                <a:cs typeface="Calibri"/>
              </a:defRPr>
            </a:lvl2pPr>
            <a:lvl3pPr>
              <a:buClr>
                <a:schemeClr val="bg2"/>
              </a:buClr>
              <a:defRPr lang="en-US" sz="1477" dirty="0">
                <a:latin typeface="Calibri"/>
                <a:cs typeface="Calibri"/>
              </a:defRPr>
            </a:lvl3pPr>
            <a:lvl4pPr>
              <a:defRPr lang="ru-RU" sz="1969" dirty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lang="en-US" sz="1969" baseline="0" dirty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>
              <a:spcBef>
                <a:spcPts val="369"/>
              </a:spcBef>
              <a:buClr>
                <a:schemeClr val="tx2"/>
              </a:buClr>
            </a:pPr>
            <a:r>
              <a:rPr lang="ru-RU" dirty="0" smtClean="0"/>
              <a:t>Название презентации </a:t>
            </a:r>
          </a:p>
          <a:p>
            <a:pPr lvl="0">
              <a:spcBef>
                <a:spcPts val="369"/>
              </a:spcBef>
              <a:buClr>
                <a:schemeClr val="tx2"/>
              </a:buClr>
            </a:pPr>
            <a:r>
              <a:rPr lang="ru-RU" dirty="0" smtClean="0"/>
              <a:t>обязательно в две строки</a:t>
            </a:r>
            <a:endParaRPr lang="en-US" dirty="0"/>
          </a:p>
        </p:txBody>
      </p:sp>
      <p:sp>
        <p:nvSpPr>
          <p:cNvPr id="23" name="Content Placeholder 18"/>
          <p:cNvSpPr>
            <a:spLocks noGrp="1"/>
          </p:cNvSpPr>
          <p:nvPr>
            <p:ph sz="quarter" idx="11" hasCustomPrompt="1"/>
          </p:nvPr>
        </p:nvSpPr>
        <p:spPr>
          <a:xfrm>
            <a:off x="734844" y="1108842"/>
            <a:ext cx="10976009" cy="5051393"/>
          </a:xfrm>
          <a:prstGeom prst="rect">
            <a:avLst/>
          </a:prstGeom>
        </p:spPr>
        <p:txBody>
          <a:bodyPr lIns="45720" tIns="45720" rIns="45720" bIns="45720"/>
          <a:lstStyle>
            <a:lvl1pPr>
              <a:spcBef>
                <a:spcPts val="0"/>
              </a:spcBef>
              <a:buClr>
                <a:schemeClr val="tx2"/>
              </a:buClr>
              <a:defRPr sz="1969">
                <a:solidFill>
                  <a:schemeClr val="tx1"/>
                </a:solidFill>
                <a:latin typeface="Calibri"/>
                <a:cs typeface="Calibri"/>
              </a:defRPr>
            </a:lvl1pPr>
            <a:lvl2pPr marL="472686" indent="-225089"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723">
                <a:solidFill>
                  <a:schemeClr val="tx1"/>
                </a:solidFill>
                <a:latin typeface="Calibri"/>
                <a:cs typeface="Calibri"/>
              </a:defRPr>
            </a:lvl2pPr>
            <a:lvl3pPr marL="697776" indent="-225089">
              <a:spcBef>
                <a:spcPts val="0"/>
              </a:spcBef>
              <a:buClr>
                <a:schemeClr val="bg2"/>
              </a:buClr>
              <a:buFont typeface="Arial" panose="020B0604020202020204" pitchFamily="34" charset="0"/>
              <a:buChar char="‒"/>
              <a:defRPr sz="1477">
                <a:solidFill>
                  <a:schemeClr val="tx1"/>
                </a:solidFill>
                <a:latin typeface="Calibri"/>
                <a:cs typeface="Calibri"/>
              </a:defRPr>
            </a:lvl3pPr>
            <a:lvl4pPr>
              <a:spcBef>
                <a:spcPts val="369"/>
              </a:spcBef>
              <a:buClr>
                <a:schemeClr val="tx2"/>
              </a:buClr>
              <a:defRPr sz="1969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477145" indent="-351701">
              <a:spcBef>
                <a:spcPts val="369"/>
              </a:spcBef>
              <a:buClr>
                <a:schemeClr val="tx2"/>
              </a:buClr>
              <a:buFont typeface="Arial" pitchFamily="34" charset="0"/>
              <a:buChar char="•"/>
              <a:defRPr sz="1969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1688165" indent="-273545">
              <a:spcBef>
                <a:spcPts val="369"/>
              </a:spcBef>
              <a:buClr>
                <a:schemeClr val="tx2"/>
              </a:buClr>
              <a:buFont typeface="Symbol" pitchFamily="18" charset="2"/>
              <a:buChar char="-"/>
              <a:defRPr sz="1969" baseline="0">
                <a:latin typeface="+mn-lt"/>
              </a:defRPr>
            </a:lvl6pPr>
          </a:lstStyle>
          <a:p>
            <a:pPr lvl="0"/>
            <a:r>
              <a:rPr lang="ru-RU" dirty="0" smtClean="0"/>
              <a:t>Блок №1 для текста или диаграммы</a:t>
            </a:r>
            <a:endParaRPr lang="en-US" dirty="0" smtClean="0"/>
          </a:p>
          <a:p>
            <a:pPr lvl="1"/>
            <a:r>
              <a:rPr lang="ru-RU" dirty="0" smtClean="0"/>
              <a:t>Второй уровень</a:t>
            </a:r>
            <a:endParaRPr lang="en-US" dirty="0" smtClean="0"/>
          </a:p>
          <a:p>
            <a:pPr lvl="2"/>
            <a:r>
              <a:rPr lang="ru-RU" dirty="0" smtClean="0"/>
              <a:t>Третий уровень</a:t>
            </a:r>
            <a:endParaRPr lang="en-US" dirty="0" smtClean="0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3"/>
          </p:nvPr>
        </p:nvSpPr>
        <p:spPr>
          <a:xfrm>
            <a:off x="-101599" y="6421818"/>
            <a:ext cx="667730" cy="414443"/>
          </a:xfrm>
          <a:prstGeom prst="rect">
            <a:avLst/>
          </a:prstGeom>
        </p:spPr>
        <p:txBody>
          <a:bodyPr lIns="46800" rIns="0" anchor="ctr" anchorCtr="0"/>
          <a:lstStyle>
            <a:lvl1pPr algn="r">
              <a:defRPr sz="1400" b="0">
                <a:solidFill>
                  <a:srgbClr val="EABF55"/>
                </a:solidFill>
                <a:latin typeface="Calibri"/>
                <a:cs typeface="Calibri"/>
              </a:defRPr>
            </a:lvl1pPr>
          </a:lstStyle>
          <a:p>
            <a:pPr>
              <a:defRPr/>
            </a:pPr>
            <a:fld id="{6113E31D-E2AB-40D1-8B51-AFA5AFEF393A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16564715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7413">
          <p15:clr>
            <a:srgbClr val="FBAE40"/>
          </p15:clr>
        </p15:guide>
        <p15:guide id="2" pos="288">
          <p15:clr>
            <a:srgbClr val="FBAE40"/>
          </p15:clr>
        </p15:guide>
        <p15:guide id="3" pos="3840">
          <p15:clr>
            <a:srgbClr val="FBAE40"/>
          </p15:clr>
        </p15:guide>
        <p15:guide id="4" orient="horz" pos="2160">
          <p15:clr>
            <a:srgbClr val="FBAE40"/>
          </p15:clr>
        </p15:guide>
        <p15:guide id="5" orient="horz" pos="859">
          <p15:clr>
            <a:srgbClr val="FBAE40"/>
          </p15:clr>
        </p15:guide>
        <p15:guide id="6" orient="horz" pos="1016">
          <p15:clr>
            <a:srgbClr val="FBAE40"/>
          </p15:clr>
        </p15:guide>
        <p15:guide id="7" orient="horz" pos="1244">
          <p15:clr>
            <a:srgbClr val="FBAE40"/>
          </p15:clr>
        </p15:guide>
        <p15:guide id="8" orient="horz" pos="3770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Одна колонка с заголовк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Content Placeholder 18"/>
          <p:cNvSpPr>
            <a:spLocks noGrp="1"/>
          </p:cNvSpPr>
          <p:nvPr>
            <p:ph sz="quarter" idx="11" hasCustomPrompt="1"/>
          </p:nvPr>
        </p:nvSpPr>
        <p:spPr>
          <a:xfrm>
            <a:off x="454905" y="1914411"/>
            <a:ext cx="11255948" cy="3790914"/>
          </a:xfrm>
          <a:prstGeom prst="rect">
            <a:avLst/>
          </a:prstGeom>
        </p:spPr>
        <p:txBody>
          <a:bodyPr lIns="45720" tIns="45720" rIns="45720" bIns="45720"/>
          <a:lstStyle>
            <a:lvl1pPr>
              <a:spcBef>
                <a:spcPts val="0"/>
              </a:spcBef>
              <a:buClr>
                <a:schemeClr val="tx2"/>
              </a:buClr>
              <a:defRPr sz="1969">
                <a:solidFill>
                  <a:schemeClr val="tx1"/>
                </a:solidFill>
                <a:latin typeface="Calibri"/>
                <a:cs typeface="Calibri"/>
              </a:defRPr>
            </a:lvl1pPr>
            <a:lvl2pPr marL="472686" indent="-225089"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723">
                <a:solidFill>
                  <a:schemeClr val="tx1"/>
                </a:solidFill>
                <a:latin typeface="Calibri"/>
                <a:cs typeface="Calibri"/>
              </a:defRPr>
            </a:lvl2pPr>
            <a:lvl3pPr marL="697776" indent="-225089">
              <a:spcBef>
                <a:spcPts val="0"/>
              </a:spcBef>
              <a:buClr>
                <a:schemeClr val="bg2"/>
              </a:buClr>
              <a:buFont typeface="Arial" panose="020B0604020202020204" pitchFamily="34" charset="0"/>
              <a:buChar char="‒"/>
              <a:defRPr sz="1477">
                <a:solidFill>
                  <a:schemeClr val="tx1"/>
                </a:solidFill>
                <a:latin typeface="Calibri"/>
                <a:cs typeface="Calibri"/>
              </a:defRPr>
            </a:lvl3pPr>
            <a:lvl4pPr>
              <a:spcBef>
                <a:spcPts val="369"/>
              </a:spcBef>
              <a:buClr>
                <a:schemeClr val="tx2"/>
              </a:buClr>
              <a:defRPr sz="1969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477145" indent="-351701">
              <a:spcBef>
                <a:spcPts val="369"/>
              </a:spcBef>
              <a:buClr>
                <a:schemeClr val="tx2"/>
              </a:buClr>
              <a:buFont typeface="Arial" pitchFamily="34" charset="0"/>
              <a:buChar char="•"/>
              <a:defRPr sz="1969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1688165" indent="-273545">
              <a:spcBef>
                <a:spcPts val="369"/>
              </a:spcBef>
              <a:buClr>
                <a:schemeClr val="tx2"/>
              </a:buClr>
              <a:buFont typeface="Symbol" pitchFamily="18" charset="2"/>
              <a:buChar char="-"/>
              <a:defRPr sz="1969" baseline="0">
                <a:latin typeface="+mn-lt"/>
              </a:defRPr>
            </a:lvl6pPr>
          </a:lstStyle>
          <a:p>
            <a:pPr lvl="0"/>
            <a:r>
              <a:rPr lang="ru-RU" dirty="0" smtClean="0"/>
              <a:t>Блок №1 для текста или диаграммы</a:t>
            </a:r>
            <a:endParaRPr lang="en-US" dirty="0" smtClean="0"/>
          </a:p>
          <a:p>
            <a:pPr lvl="1"/>
            <a:r>
              <a:rPr lang="ru-RU" dirty="0" smtClean="0"/>
              <a:t>Второй уровень</a:t>
            </a:r>
            <a:endParaRPr lang="en-US" dirty="0" smtClean="0"/>
          </a:p>
          <a:p>
            <a:pPr lvl="2"/>
            <a:r>
              <a:rPr lang="ru-RU" dirty="0" smtClean="0"/>
              <a:t>Третий уровень</a:t>
            </a:r>
            <a:endParaRPr lang="en-US" dirty="0" smtClean="0"/>
          </a:p>
        </p:txBody>
      </p:sp>
      <p:sp>
        <p:nvSpPr>
          <p:cNvPr id="24" name="Текст 3"/>
          <p:cNvSpPr>
            <a:spLocks noGrp="1"/>
          </p:cNvSpPr>
          <p:nvPr>
            <p:ph type="body" sz="half" idx="2" hasCustomPrompt="1"/>
          </p:nvPr>
        </p:nvSpPr>
        <p:spPr>
          <a:xfrm>
            <a:off x="454903" y="5901790"/>
            <a:ext cx="11255951" cy="343740"/>
          </a:xfrm>
          <a:prstGeom prst="rect">
            <a:avLst/>
          </a:prstGeom>
        </p:spPr>
        <p:txBody>
          <a:bodyPr lIns="0" rIns="0" bIns="0">
            <a:normAutofit/>
          </a:bodyPr>
          <a:lstStyle>
            <a:lvl1pPr marL="0" indent="-2082514">
              <a:spcBef>
                <a:spcPts val="0"/>
              </a:spcBef>
              <a:spcAft>
                <a:spcPts val="0"/>
              </a:spcAft>
              <a:buNone/>
              <a:defRPr sz="1231" baseline="0">
                <a:solidFill>
                  <a:schemeClr val="bg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562722" indent="0">
              <a:buNone/>
              <a:defRPr sz="1723"/>
            </a:lvl2pPr>
            <a:lvl3pPr marL="1125444" indent="0">
              <a:buNone/>
              <a:defRPr sz="1477"/>
            </a:lvl3pPr>
            <a:lvl4pPr marL="1688165" indent="0">
              <a:buNone/>
              <a:defRPr sz="1231"/>
            </a:lvl4pPr>
            <a:lvl5pPr marL="2250887" indent="0">
              <a:buNone/>
              <a:defRPr sz="1231"/>
            </a:lvl5pPr>
            <a:lvl6pPr marL="2813609" indent="0">
              <a:buNone/>
              <a:defRPr sz="1231"/>
            </a:lvl6pPr>
            <a:lvl7pPr marL="3376331" indent="0">
              <a:buNone/>
              <a:defRPr sz="1231"/>
            </a:lvl7pPr>
            <a:lvl8pPr marL="3939052" indent="0">
              <a:buNone/>
              <a:defRPr sz="1231"/>
            </a:lvl8pPr>
            <a:lvl9pPr marL="4501774" indent="0">
              <a:buNone/>
              <a:defRPr sz="1231"/>
            </a:lvl9pPr>
          </a:lstStyle>
          <a:p>
            <a:pPr lvl="0"/>
            <a:r>
              <a:rPr lang="ru-RU" dirty="0" smtClean="0"/>
              <a:t>Источники: Введите </a:t>
            </a:r>
            <a:r>
              <a:rPr lang="en-US" dirty="0" smtClean="0"/>
              <a:t>Tab</a:t>
            </a:r>
            <a:r>
              <a:rPr lang="ru-RU" dirty="0" smtClean="0"/>
              <a:t> → </a:t>
            </a:r>
            <a:r>
              <a:rPr lang="en-US" dirty="0" smtClean="0"/>
              <a:t>“</a:t>
            </a:r>
            <a:r>
              <a:rPr lang="ru-RU" dirty="0" smtClean="0"/>
              <a:t>Источники</a:t>
            </a:r>
            <a:r>
              <a:rPr lang="en-US" dirty="0" smtClean="0"/>
              <a:t>:”</a:t>
            </a:r>
            <a:r>
              <a:rPr lang="ru-RU" dirty="0" smtClean="0"/>
              <a:t>, затем </a:t>
            </a:r>
            <a:r>
              <a:rPr lang="en-US" dirty="0" smtClean="0"/>
              <a:t>Tab</a:t>
            </a:r>
            <a:r>
              <a:rPr lang="ru-RU" dirty="0" smtClean="0"/>
              <a:t> → Укажите источник. Разделяйте несколько источников точкой с запятой</a:t>
            </a:r>
            <a:r>
              <a:rPr lang="en-US" dirty="0" smtClean="0"/>
              <a:t> (;</a:t>
            </a:r>
            <a:endParaRPr lang="ru-RU" dirty="0" smtClean="0"/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24311" y="-1"/>
            <a:ext cx="9778321" cy="809201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8380" y="233246"/>
            <a:ext cx="2084666" cy="318017"/>
          </a:xfrm>
          <a:prstGeom prst="rect">
            <a:avLst/>
          </a:prstGeom>
        </p:spPr>
      </p:pic>
      <p:sp>
        <p:nvSpPr>
          <p:cNvPr id="17" name="Прямоугольник 7"/>
          <p:cNvSpPr/>
          <p:nvPr userDrawn="1"/>
        </p:nvSpPr>
        <p:spPr>
          <a:xfrm>
            <a:off x="10763006" y="0"/>
            <a:ext cx="1386213" cy="2817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11254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31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www.rosgeo.com</a:t>
            </a:r>
          </a:p>
        </p:txBody>
      </p:sp>
      <p:sp>
        <p:nvSpPr>
          <p:cNvPr id="22" name="Заголовок 1"/>
          <p:cNvSpPr>
            <a:spLocks noGrp="1"/>
          </p:cNvSpPr>
          <p:nvPr>
            <p:ph type="title"/>
          </p:nvPr>
        </p:nvSpPr>
        <p:spPr>
          <a:xfrm>
            <a:off x="3466341" y="204306"/>
            <a:ext cx="8240532" cy="527474"/>
          </a:xfrm>
          <a:prstGeom prst="rect">
            <a:avLst/>
          </a:prstGeom>
        </p:spPr>
        <p:txBody>
          <a:bodyPr lIns="0"/>
          <a:lstStyle>
            <a:lvl1pPr>
              <a:defRPr sz="2462" b="1" i="0">
                <a:solidFill>
                  <a:srgbClr val="FFFFFF"/>
                </a:solidFill>
                <a:latin typeface="Calibri"/>
                <a:cs typeface="Calibri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27" name="Content Placeholder 18"/>
          <p:cNvSpPr>
            <a:spLocks noGrp="1"/>
          </p:cNvSpPr>
          <p:nvPr>
            <p:ph sz="quarter" idx="23" hasCustomPrompt="1"/>
          </p:nvPr>
        </p:nvSpPr>
        <p:spPr>
          <a:xfrm>
            <a:off x="757545" y="6333121"/>
            <a:ext cx="5356399" cy="336442"/>
          </a:xfrm>
          <a:prstGeom prst="rect">
            <a:avLst/>
          </a:prstGeom>
        </p:spPr>
        <p:txBody>
          <a:bodyPr lIns="45720" tIns="45720" rIns="45720" bIns="45720" anchor="t"/>
          <a:lstStyle>
            <a:lvl1pPr marL="0" indent="0">
              <a:lnSpc>
                <a:spcPts val="985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None/>
              <a:defRPr lang="en-US" sz="985" baseline="0" dirty="0">
                <a:solidFill>
                  <a:schemeClr val="bg1">
                    <a:lumMod val="75000"/>
                  </a:schemeClr>
                </a:solidFill>
                <a:latin typeface="Calibri"/>
                <a:cs typeface="Calibri"/>
              </a:defRPr>
            </a:lvl1pPr>
            <a:lvl2pPr marL="247598" indent="0">
              <a:buClr>
                <a:schemeClr val="bg2"/>
              </a:buClr>
              <a:buNone/>
              <a:defRPr lang="en-US" sz="1723" dirty="0">
                <a:latin typeface="Calibri"/>
                <a:cs typeface="Calibri"/>
              </a:defRPr>
            </a:lvl2pPr>
            <a:lvl3pPr>
              <a:buClr>
                <a:schemeClr val="bg2"/>
              </a:buClr>
              <a:defRPr lang="en-US" sz="1477" dirty="0">
                <a:latin typeface="Calibri"/>
                <a:cs typeface="Calibri"/>
              </a:defRPr>
            </a:lvl3pPr>
            <a:lvl4pPr>
              <a:defRPr lang="ru-RU" sz="1969" dirty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lang="en-US" sz="1969" baseline="0" dirty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>
              <a:spcBef>
                <a:spcPts val="369"/>
              </a:spcBef>
              <a:buClr>
                <a:schemeClr val="tx2"/>
              </a:buClr>
            </a:pPr>
            <a:r>
              <a:rPr lang="ru-RU" dirty="0" smtClean="0"/>
              <a:t>Название презентации </a:t>
            </a:r>
          </a:p>
          <a:p>
            <a:pPr lvl="0">
              <a:spcBef>
                <a:spcPts val="369"/>
              </a:spcBef>
              <a:buClr>
                <a:schemeClr val="tx2"/>
              </a:buClr>
            </a:pPr>
            <a:r>
              <a:rPr lang="ru-RU" dirty="0" smtClean="0"/>
              <a:t>обязательно в две строки</a:t>
            </a:r>
            <a:endParaRPr lang="en-US" dirty="0"/>
          </a:p>
        </p:txBody>
      </p:sp>
      <p:sp>
        <p:nvSpPr>
          <p:cNvPr id="28" name="Content Placeholder 18"/>
          <p:cNvSpPr>
            <a:spLocks noGrp="1"/>
          </p:cNvSpPr>
          <p:nvPr>
            <p:ph sz="quarter" idx="12" hasCustomPrompt="1"/>
          </p:nvPr>
        </p:nvSpPr>
        <p:spPr>
          <a:xfrm>
            <a:off x="461032" y="1182842"/>
            <a:ext cx="11238156" cy="258224"/>
          </a:xfrm>
          <a:prstGeom prst="rect">
            <a:avLst/>
          </a:prstGeom>
        </p:spPr>
        <p:txBody>
          <a:bodyPr lIns="45720" tIns="45720" rIns="45720" bIns="45720"/>
          <a:lstStyle>
            <a:lvl1pPr>
              <a:spcBef>
                <a:spcPts val="0"/>
              </a:spcBef>
              <a:buClr>
                <a:schemeClr val="tx2"/>
              </a:buClr>
              <a:defRPr sz="1969" b="1">
                <a:solidFill>
                  <a:schemeClr val="tx1"/>
                </a:solidFill>
                <a:latin typeface="Calibri"/>
                <a:cs typeface="Calibri"/>
              </a:defRPr>
            </a:lvl1pPr>
            <a:lvl2pPr marL="472686" indent="-225089">
              <a:spcBef>
                <a:spcPts val="369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723">
                <a:solidFill>
                  <a:schemeClr val="tx1"/>
                </a:solidFill>
                <a:latin typeface="Calibri"/>
                <a:cs typeface="Calibri"/>
              </a:defRPr>
            </a:lvl2pPr>
            <a:lvl3pPr marL="697776" indent="-225089">
              <a:spcBef>
                <a:spcPts val="369"/>
              </a:spcBef>
              <a:buClr>
                <a:schemeClr val="bg2"/>
              </a:buClr>
              <a:buFont typeface="Arial" panose="020B0604020202020204" pitchFamily="34" charset="0"/>
              <a:buChar char="‒"/>
              <a:defRPr sz="1477">
                <a:solidFill>
                  <a:schemeClr val="tx1"/>
                </a:solidFill>
                <a:latin typeface="Calibri"/>
                <a:cs typeface="Calibri"/>
              </a:defRPr>
            </a:lvl3pPr>
            <a:lvl4pPr>
              <a:spcBef>
                <a:spcPts val="369"/>
              </a:spcBef>
              <a:buClr>
                <a:schemeClr val="tx2"/>
              </a:buClr>
              <a:defRPr sz="1969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477145" indent="-351701">
              <a:spcBef>
                <a:spcPts val="369"/>
              </a:spcBef>
              <a:buClr>
                <a:schemeClr val="tx2"/>
              </a:buClr>
              <a:buFont typeface="Arial" pitchFamily="34" charset="0"/>
              <a:buChar char="•"/>
              <a:defRPr sz="1969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1688165" indent="-273545">
              <a:spcBef>
                <a:spcPts val="369"/>
              </a:spcBef>
              <a:buClr>
                <a:schemeClr val="tx2"/>
              </a:buClr>
              <a:buFont typeface="Symbol" pitchFamily="18" charset="2"/>
              <a:buChar char="-"/>
              <a:defRPr sz="1969" baseline="0">
                <a:latin typeface="+mn-lt"/>
              </a:defRPr>
            </a:lvl6pPr>
          </a:lstStyle>
          <a:p>
            <a:pPr lvl="0"/>
            <a:r>
              <a:rPr lang="ru-RU" dirty="0" smtClean="0"/>
              <a:t>Заголовок</a:t>
            </a:r>
            <a:endParaRPr lang="en-US" dirty="0" smtClean="0"/>
          </a:p>
        </p:txBody>
      </p:sp>
      <p:sp>
        <p:nvSpPr>
          <p:cNvPr id="29" name="Content Placeholder 18"/>
          <p:cNvSpPr>
            <a:spLocks noGrp="1"/>
          </p:cNvSpPr>
          <p:nvPr>
            <p:ph sz="quarter" idx="24" hasCustomPrompt="1"/>
          </p:nvPr>
        </p:nvSpPr>
        <p:spPr>
          <a:xfrm>
            <a:off x="461437" y="1458532"/>
            <a:ext cx="11249415" cy="258224"/>
          </a:xfrm>
          <a:prstGeom prst="rect">
            <a:avLst/>
          </a:prstGeom>
        </p:spPr>
        <p:txBody>
          <a:bodyPr lIns="45720" tIns="45720" rIns="45720" bIns="45720"/>
          <a:lstStyle>
            <a:lvl1pPr>
              <a:spcBef>
                <a:spcPts val="0"/>
              </a:spcBef>
              <a:buClr>
                <a:schemeClr val="tx2"/>
              </a:buClr>
              <a:defRPr sz="1723" b="0">
                <a:solidFill>
                  <a:schemeClr val="tx1"/>
                </a:solidFill>
                <a:latin typeface="Calibri"/>
                <a:cs typeface="Calibri"/>
              </a:defRPr>
            </a:lvl1pPr>
            <a:lvl2pPr marL="472686" indent="-225089">
              <a:spcBef>
                <a:spcPts val="369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723">
                <a:solidFill>
                  <a:schemeClr val="tx1"/>
                </a:solidFill>
                <a:latin typeface="Calibri"/>
                <a:cs typeface="Calibri"/>
              </a:defRPr>
            </a:lvl2pPr>
            <a:lvl3pPr marL="697776" indent="-225089">
              <a:spcBef>
                <a:spcPts val="369"/>
              </a:spcBef>
              <a:buClr>
                <a:schemeClr val="bg2"/>
              </a:buClr>
              <a:buFont typeface="Arial" panose="020B0604020202020204" pitchFamily="34" charset="0"/>
              <a:buChar char="‒"/>
              <a:defRPr sz="1477">
                <a:solidFill>
                  <a:schemeClr val="tx1"/>
                </a:solidFill>
                <a:latin typeface="Calibri"/>
                <a:cs typeface="Calibri"/>
              </a:defRPr>
            </a:lvl3pPr>
            <a:lvl4pPr>
              <a:spcBef>
                <a:spcPts val="369"/>
              </a:spcBef>
              <a:buClr>
                <a:schemeClr val="tx2"/>
              </a:buClr>
              <a:defRPr sz="1969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477145" indent="-351701">
              <a:spcBef>
                <a:spcPts val="369"/>
              </a:spcBef>
              <a:buClr>
                <a:schemeClr val="tx2"/>
              </a:buClr>
              <a:buFont typeface="Arial" pitchFamily="34" charset="0"/>
              <a:buChar char="•"/>
              <a:defRPr sz="1969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1688165" indent="-273545">
              <a:spcBef>
                <a:spcPts val="369"/>
              </a:spcBef>
              <a:buClr>
                <a:schemeClr val="tx2"/>
              </a:buClr>
              <a:buFont typeface="Symbol" pitchFamily="18" charset="2"/>
              <a:buChar char="-"/>
              <a:defRPr sz="1969" baseline="0">
                <a:latin typeface="+mn-lt"/>
              </a:defRPr>
            </a:lvl6pPr>
          </a:lstStyle>
          <a:p>
            <a:pPr lvl="0"/>
            <a:r>
              <a:rPr lang="ru-RU" dirty="0" smtClean="0"/>
              <a:t>Подзаголовок</a:t>
            </a:r>
            <a:endParaRPr lang="en-US" dirty="0" smtClean="0"/>
          </a:p>
        </p:txBody>
      </p:sp>
      <p:sp>
        <p:nvSpPr>
          <p:cNvPr id="15" name="Slide Number Placeholder 5"/>
          <p:cNvSpPr>
            <a:spLocks noGrp="1"/>
          </p:cNvSpPr>
          <p:nvPr>
            <p:ph type="sldNum" sz="quarter" idx="13"/>
          </p:nvPr>
        </p:nvSpPr>
        <p:spPr>
          <a:xfrm>
            <a:off x="-101599" y="6421818"/>
            <a:ext cx="667730" cy="414443"/>
          </a:xfrm>
          <a:prstGeom prst="rect">
            <a:avLst/>
          </a:prstGeom>
        </p:spPr>
        <p:txBody>
          <a:bodyPr lIns="46800" rIns="0" anchor="ctr" anchorCtr="0"/>
          <a:lstStyle>
            <a:lvl1pPr algn="r">
              <a:defRPr sz="1400" b="0">
                <a:solidFill>
                  <a:srgbClr val="EABF55"/>
                </a:solidFill>
                <a:latin typeface="Calibri"/>
                <a:cs typeface="Calibri"/>
              </a:defRPr>
            </a:lvl1pPr>
          </a:lstStyle>
          <a:p>
            <a:pPr>
              <a:defRPr/>
            </a:pPr>
            <a:fld id="{6113E31D-E2AB-40D1-8B51-AFA5AFEF393A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338890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7413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е ассиметричные колонк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Content Placeholder 18"/>
          <p:cNvSpPr>
            <a:spLocks noGrp="1"/>
          </p:cNvSpPr>
          <p:nvPr>
            <p:ph sz="quarter" idx="22" hasCustomPrompt="1"/>
          </p:nvPr>
        </p:nvSpPr>
        <p:spPr>
          <a:xfrm>
            <a:off x="461438" y="1930808"/>
            <a:ext cx="3131136" cy="4305245"/>
          </a:xfrm>
          <a:prstGeom prst="rect">
            <a:avLst/>
          </a:prstGeom>
        </p:spPr>
        <p:txBody>
          <a:bodyPr lIns="45720" tIns="45720" rIns="45720" bIns="45720"/>
          <a:lstStyle>
            <a:lvl1pPr>
              <a:buClr>
                <a:schemeClr val="bg2"/>
              </a:buClr>
              <a:defRPr lang="en-US" sz="1969" dirty="0">
                <a:latin typeface="Calibri"/>
                <a:cs typeface="Calibri"/>
              </a:defRPr>
            </a:lvl1pPr>
            <a:lvl2pPr marL="247598" indent="0">
              <a:buClr>
                <a:schemeClr val="bg2"/>
              </a:buClr>
              <a:buNone/>
              <a:defRPr lang="en-US" sz="1723" dirty="0">
                <a:latin typeface="Calibri"/>
                <a:cs typeface="Calibri"/>
              </a:defRPr>
            </a:lvl2pPr>
            <a:lvl3pPr>
              <a:buClr>
                <a:schemeClr val="bg2"/>
              </a:buClr>
              <a:defRPr lang="en-US" sz="1477" dirty="0">
                <a:latin typeface="Calibri"/>
                <a:cs typeface="Calibri"/>
              </a:defRPr>
            </a:lvl3pPr>
            <a:lvl4pPr>
              <a:defRPr lang="ru-RU" sz="1969" dirty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lang="en-US" sz="1969" baseline="0" dirty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>
              <a:spcBef>
                <a:spcPts val="369"/>
              </a:spcBef>
              <a:buClr>
                <a:schemeClr val="tx2"/>
              </a:buClr>
            </a:pPr>
            <a:r>
              <a:rPr lang="ru-RU" dirty="0" smtClean="0"/>
              <a:t>Текст</a:t>
            </a:r>
            <a:endParaRPr lang="en-US" dirty="0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24311" y="-1"/>
            <a:ext cx="9778321" cy="809201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8380" y="233246"/>
            <a:ext cx="2084666" cy="318017"/>
          </a:xfrm>
          <a:prstGeom prst="rect">
            <a:avLst/>
          </a:prstGeom>
        </p:spPr>
      </p:pic>
      <p:sp>
        <p:nvSpPr>
          <p:cNvPr id="22" name="Прямоугольник 7"/>
          <p:cNvSpPr/>
          <p:nvPr userDrawn="1"/>
        </p:nvSpPr>
        <p:spPr>
          <a:xfrm>
            <a:off x="10763006" y="0"/>
            <a:ext cx="1386213" cy="2817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11254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31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www.rosgeo.com</a:t>
            </a:r>
          </a:p>
        </p:txBody>
      </p:sp>
      <p:sp>
        <p:nvSpPr>
          <p:cNvPr id="24" name="Заголовок 1"/>
          <p:cNvSpPr txBox="1">
            <a:spLocks/>
          </p:cNvSpPr>
          <p:nvPr userDrawn="1"/>
        </p:nvSpPr>
        <p:spPr>
          <a:xfrm>
            <a:off x="3466341" y="204306"/>
            <a:ext cx="8240532" cy="527474"/>
          </a:xfrm>
          <a:prstGeom prst="rect">
            <a:avLst/>
          </a:prstGeom>
        </p:spPr>
        <p:txBody>
          <a:bodyPr lIns="0"/>
          <a:lstStyle>
            <a:lvl1pPr algn="l" defTabSz="914399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2000" b="1" i="0" kern="1200" spc="-50" baseline="0">
                <a:solidFill>
                  <a:srgbClr val="FFFFFF"/>
                </a:solidFill>
                <a:latin typeface="Calibri"/>
                <a:ea typeface="+mj-ea"/>
                <a:cs typeface="Calibri"/>
              </a:defRPr>
            </a:lvl1pPr>
          </a:lstStyle>
          <a:p>
            <a:r>
              <a:rPr lang="ru-RU" sz="2462" dirty="0" smtClean="0"/>
              <a:t>Образец заголовка</a:t>
            </a:r>
            <a:endParaRPr lang="ru-RU" sz="2462" dirty="0"/>
          </a:p>
        </p:txBody>
      </p:sp>
      <p:sp>
        <p:nvSpPr>
          <p:cNvPr id="25" name="Content Placeholder 18"/>
          <p:cNvSpPr>
            <a:spLocks noGrp="1"/>
          </p:cNvSpPr>
          <p:nvPr>
            <p:ph sz="quarter" idx="23" hasCustomPrompt="1"/>
          </p:nvPr>
        </p:nvSpPr>
        <p:spPr>
          <a:xfrm>
            <a:off x="757545" y="6333121"/>
            <a:ext cx="5356399" cy="336442"/>
          </a:xfrm>
          <a:prstGeom prst="rect">
            <a:avLst/>
          </a:prstGeom>
        </p:spPr>
        <p:txBody>
          <a:bodyPr lIns="45720" tIns="45720" rIns="45720" bIns="45720" anchor="t"/>
          <a:lstStyle>
            <a:lvl1pPr marL="0" indent="0">
              <a:lnSpc>
                <a:spcPts val="985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None/>
              <a:defRPr lang="en-US" sz="985" baseline="0" dirty="0">
                <a:solidFill>
                  <a:schemeClr val="bg1">
                    <a:lumMod val="75000"/>
                  </a:schemeClr>
                </a:solidFill>
                <a:latin typeface="Calibri"/>
                <a:cs typeface="Calibri"/>
              </a:defRPr>
            </a:lvl1pPr>
            <a:lvl2pPr marL="247598" indent="0">
              <a:buClr>
                <a:schemeClr val="bg2"/>
              </a:buClr>
              <a:buNone/>
              <a:defRPr lang="en-US" sz="1723" dirty="0">
                <a:latin typeface="Calibri"/>
                <a:cs typeface="Calibri"/>
              </a:defRPr>
            </a:lvl2pPr>
            <a:lvl3pPr>
              <a:buClr>
                <a:schemeClr val="bg2"/>
              </a:buClr>
              <a:defRPr lang="en-US" sz="1477" dirty="0">
                <a:latin typeface="Calibri"/>
                <a:cs typeface="Calibri"/>
              </a:defRPr>
            </a:lvl3pPr>
            <a:lvl4pPr>
              <a:defRPr lang="ru-RU" sz="1969" dirty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lang="en-US" sz="1969" baseline="0" dirty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>
              <a:spcBef>
                <a:spcPts val="369"/>
              </a:spcBef>
              <a:buClr>
                <a:schemeClr val="tx2"/>
              </a:buClr>
            </a:pPr>
            <a:r>
              <a:rPr lang="ru-RU" dirty="0" smtClean="0"/>
              <a:t>Название презентации </a:t>
            </a:r>
          </a:p>
          <a:p>
            <a:pPr lvl="0">
              <a:spcBef>
                <a:spcPts val="369"/>
              </a:spcBef>
              <a:buClr>
                <a:schemeClr val="tx2"/>
              </a:buClr>
            </a:pPr>
            <a:r>
              <a:rPr lang="ru-RU" dirty="0" smtClean="0"/>
              <a:t>обязательно в две строки</a:t>
            </a:r>
            <a:endParaRPr lang="en-US" dirty="0"/>
          </a:p>
        </p:txBody>
      </p:sp>
      <p:sp>
        <p:nvSpPr>
          <p:cNvPr id="26" name="Content Placeholder 18"/>
          <p:cNvSpPr>
            <a:spLocks noGrp="1"/>
          </p:cNvSpPr>
          <p:nvPr>
            <p:ph sz="quarter" idx="12" hasCustomPrompt="1"/>
          </p:nvPr>
        </p:nvSpPr>
        <p:spPr>
          <a:xfrm>
            <a:off x="461032" y="1182842"/>
            <a:ext cx="11238156" cy="258224"/>
          </a:xfrm>
          <a:prstGeom prst="rect">
            <a:avLst/>
          </a:prstGeom>
        </p:spPr>
        <p:txBody>
          <a:bodyPr lIns="45720" tIns="45720" rIns="45720" bIns="45720"/>
          <a:lstStyle>
            <a:lvl1pPr>
              <a:spcBef>
                <a:spcPts val="369"/>
              </a:spcBef>
              <a:buClr>
                <a:schemeClr val="tx2"/>
              </a:buClr>
              <a:defRPr sz="1969" b="1">
                <a:solidFill>
                  <a:schemeClr val="tx1"/>
                </a:solidFill>
                <a:latin typeface="Calibri"/>
                <a:cs typeface="Calibri"/>
              </a:defRPr>
            </a:lvl1pPr>
            <a:lvl2pPr marL="472686" indent="-225089">
              <a:spcBef>
                <a:spcPts val="369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723">
                <a:solidFill>
                  <a:schemeClr val="tx1"/>
                </a:solidFill>
                <a:latin typeface="Calibri"/>
                <a:cs typeface="Calibri"/>
              </a:defRPr>
            </a:lvl2pPr>
            <a:lvl3pPr marL="697776" indent="-225089">
              <a:spcBef>
                <a:spcPts val="369"/>
              </a:spcBef>
              <a:buClr>
                <a:schemeClr val="bg2"/>
              </a:buClr>
              <a:buFont typeface="Arial" panose="020B0604020202020204" pitchFamily="34" charset="0"/>
              <a:buChar char="‒"/>
              <a:defRPr sz="1477">
                <a:solidFill>
                  <a:schemeClr val="tx1"/>
                </a:solidFill>
                <a:latin typeface="Calibri"/>
                <a:cs typeface="Calibri"/>
              </a:defRPr>
            </a:lvl3pPr>
            <a:lvl4pPr>
              <a:spcBef>
                <a:spcPts val="369"/>
              </a:spcBef>
              <a:buClr>
                <a:schemeClr val="tx2"/>
              </a:buClr>
              <a:defRPr sz="1969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477145" indent="-351701">
              <a:spcBef>
                <a:spcPts val="369"/>
              </a:spcBef>
              <a:buClr>
                <a:schemeClr val="tx2"/>
              </a:buClr>
              <a:buFont typeface="Arial" pitchFamily="34" charset="0"/>
              <a:buChar char="•"/>
              <a:defRPr sz="1969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1688165" indent="-273545">
              <a:spcBef>
                <a:spcPts val="369"/>
              </a:spcBef>
              <a:buClr>
                <a:schemeClr val="tx2"/>
              </a:buClr>
              <a:buFont typeface="Symbol" pitchFamily="18" charset="2"/>
              <a:buChar char="-"/>
              <a:defRPr sz="1969" baseline="0">
                <a:latin typeface="+mn-lt"/>
              </a:defRPr>
            </a:lvl6pPr>
          </a:lstStyle>
          <a:p>
            <a:pPr lvl="0"/>
            <a:r>
              <a:rPr lang="ru-RU" dirty="0" smtClean="0"/>
              <a:t>Заголовок</a:t>
            </a:r>
            <a:endParaRPr lang="en-US" dirty="0" smtClean="0"/>
          </a:p>
        </p:txBody>
      </p:sp>
      <p:sp>
        <p:nvSpPr>
          <p:cNvPr id="27" name="Content Placeholder 18"/>
          <p:cNvSpPr>
            <a:spLocks noGrp="1"/>
          </p:cNvSpPr>
          <p:nvPr>
            <p:ph sz="quarter" idx="24" hasCustomPrompt="1"/>
          </p:nvPr>
        </p:nvSpPr>
        <p:spPr>
          <a:xfrm>
            <a:off x="461437" y="1458532"/>
            <a:ext cx="11249415" cy="258224"/>
          </a:xfrm>
          <a:prstGeom prst="rect">
            <a:avLst/>
          </a:prstGeom>
        </p:spPr>
        <p:txBody>
          <a:bodyPr lIns="45720" tIns="45720" rIns="45720" bIns="45720"/>
          <a:lstStyle>
            <a:lvl1pPr>
              <a:spcBef>
                <a:spcPts val="369"/>
              </a:spcBef>
              <a:buClr>
                <a:schemeClr val="tx2"/>
              </a:buClr>
              <a:defRPr sz="1723" b="0">
                <a:solidFill>
                  <a:schemeClr val="tx1"/>
                </a:solidFill>
                <a:latin typeface="Calibri"/>
                <a:cs typeface="Calibri"/>
              </a:defRPr>
            </a:lvl1pPr>
            <a:lvl2pPr marL="472686" indent="-225089">
              <a:spcBef>
                <a:spcPts val="369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723">
                <a:solidFill>
                  <a:schemeClr val="tx1"/>
                </a:solidFill>
                <a:latin typeface="Calibri"/>
                <a:cs typeface="Calibri"/>
              </a:defRPr>
            </a:lvl2pPr>
            <a:lvl3pPr marL="697776" indent="-225089">
              <a:spcBef>
                <a:spcPts val="369"/>
              </a:spcBef>
              <a:buClr>
                <a:schemeClr val="bg2"/>
              </a:buClr>
              <a:buFont typeface="Arial" panose="020B0604020202020204" pitchFamily="34" charset="0"/>
              <a:buChar char="‒"/>
              <a:defRPr sz="1477">
                <a:solidFill>
                  <a:schemeClr val="tx1"/>
                </a:solidFill>
                <a:latin typeface="Calibri"/>
                <a:cs typeface="Calibri"/>
              </a:defRPr>
            </a:lvl3pPr>
            <a:lvl4pPr>
              <a:spcBef>
                <a:spcPts val="369"/>
              </a:spcBef>
              <a:buClr>
                <a:schemeClr val="tx2"/>
              </a:buClr>
              <a:defRPr sz="1969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477145" indent="-351701">
              <a:spcBef>
                <a:spcPts val="369"/>
              </a:spcBef>
              <a:buClr>
                <a:schemeClr val="tx2"/>
              </a:buClr>
              <a:buFont typeface="Arial" pitchFamily="34" charset="0"/>
              <a:buChar char="•"/>
              <a:defRPr sz="1969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1688165" indent="-273545">
              <a:spcBef>
                <a:spcPts val="369"/>
              </a:spcBef>
              <a:buClr>
                <a:schemeClr val="tx2"/>
              </a:buClr>
              <a:buFont typeface="Symbol" pitchFamily="18" charset="2"/>
              <a:buChar char="-"/>
              <a:defRPr sz="1969" baseline="0">
                <a:latin typeface="+mn-lt"/>
              </a:defRPr>
            </a:lvl6pPr>
          </a:lstStyle>
          <a:p>
            <a:pPr lvl="0"/>
            <a:r>
              <a:rPr lang="ru-RU" dirty="0" smtClean="0"/>
              <a:t>Подзаголовок</a:t>
            </a:r>
            <a:endParaRPr lang="en-US" dirty="0" smtClean="0"/>
          </a:p>
        </p:txBody>
      </p:sp>
      <p:sp>
        <p:nvSpPr>
          <p:cNvPr id="28" name="Content Placeholder 18"/>
          <p:cNvSpPr>
            <a:spLocks noGrp="1"/>
          </p:cNvSpPr>
          <p:nvPr>
            <p:ph sz="quarter" idx="25" hasCustomPrompt="1"/>
          </p:nvPr>
        </p:nvSpPr>
        <p:spPr>
          <a:xfrm>
            <a:off x="3919169" y="1931571"/>
            <a:ext cx="7780017" cy="4313960"/>
          </a:xfrm>
          <a:prstGeom prst="rect">
            <a:avLst/>
          </a:prstGeom>
        </p:spPr>
        <p:txBody>
          <a:bodyPr lIns="45720" tIns="45720" rIns="45720" bIns="45720"/>
          <a:lstStyle>
            <a:lvl1pPr>
              <a:buClr>
                <a:schemeClr val="bg2"/>
              </a:buClr>
              <a:defRPr lang="en-US" sz="1969" dirty="0">
                <a:latin typeface="Calibri"/>
                <a:cs typeface="Calibri"/>
              </a:defRPr>
            </a:lvl1pPr>
            <a:lvl2pPr marL="247598" indent="0">
              <a:buClr>
                <a:schemeClr val="bg2"/>
              </a:buClr>
              <a:buNone/>
              <a:defRPr lang="en-US" sz="1723" dirty="0">
                <a:latin typeface="Calibri"/>
                <a:cs typeface="Calibri"/>
              </a:defRPr>
            </a:lvl2pPr>
            <a:lvl3pPr>
              <a:buClr>
                <a:schemeClr val="bg2"/>
              </a:buClr>
              <a:defRPr lang="en-US" sz="1477" dirty="0">
                <a:latin typeface="Calibri"/>
                <a:cs typeface="Calibri"/>
              </a:defRPr>
            </a:lvl3pPr>
            <a:lvl4pPr>
              <a:defRPr lang="ru-RU" sz="1969" dirty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lang="en-US" sz="1969" baseline="0" dirty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>
              <a:spcBef>
                <a:spcPts val="369"/>
              </a:spcBef>
              <a:buClr>
                <a:schemeClr val="tx2"/>
              </a:buClr>
            </a:pPr>
            <a:r>
              <a:rPr lang="ru-RU" dirty="0" smtClean="0"/>
              <a:t>Текст</a:t>
            </a:r>
            <a:endParaRPr lang="en-US" dirty="0"/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13"/>
          </p:nvPr>
        </p:nvSpPr>
        <p:spPr>
          <a:xfrm>
            <a:off x="-101599" y="6421818"/>
            <a:ext cx="667730" cy="414443"/>
          </a:xfrm>
          <a:prstGeom prst="rect">
            <a:avLst/>
          </a:prstGeom>
        </p:spPr>
        <p:txBody>
          <a:bodyPr lIns="46800" rIns="0" anchor="ctr" anchorCtr="0"/>
          <a:lstStyle>
            <a:lvl1pPr algn="r">
              <a:defRPr sz="1400" b="0">
                <a:solidFill>
                  <a:srgbClr val="EABF55"/>
                </a:solidFill>
                <a:latin typeface="Calibri"/>
                <a:cs typeface="Calibri"/>
              </a:defRPr>
            </a:lvl1pPr>
          </a:lstStyle>
          <a:p>
            <a:pPr>
              <a:defRPr/>
            </a:pPr>
            <a:fld id="{6113E31D-E2AB-40D1-8B51-AFA5AFEF393A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556685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7413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е симметричные колонк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24311" y="-1"/>
            <a:ext cx="9778321" cy="809201"/>
          </a:xfrm>
          <a:prstGeom prst="rect">
            <a:avLst/>
          </a:prstGeom>
        </p:spPr>
      </p:pic>
      <p:pic>
        <p:nvPicPr>
          <p:cNvPr id="17" name="Picture 16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8380" y="233246"/>
            <a:ext cx="2084666" cy="318017"/>
          </a:xfrm>
          <a:prstGeom prst="rect">
            <a:avLst/>
          </a:prstGeom>
        </p:spPr>
      </p:pic>
      <p:sp>
        <p:nvSpPr>
          <p:cNvPr id="20" name="Прямоугольник 7"/>
          <p:cNvSpPr/>
          <p:nvPr userDrawn="1"/>
        </p:nvSpPr>
        <p:spPr>
          <a:xfrm>
            <a:off x="10763006" y="0"/>
            <a:ext cx="1386213" cy="2817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11254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31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www.rosgeo.com</a:t>
            </a:r>
          </a:p>
        </p:txBody>
      </p:sp>
      <p:sp>
        <p:nvSpPr>
          <p:cNvPr id="23" name="Заголовок 1"/>
          <p:cNvSpPr>
            <a:spLocks noGrp="1"/>
          </p:cNvSpPr>
          <p:nvPr>
            <p:ph type="title"/>
          </p:nvPr>
        </p:nvSpPr>
        <p:spPr>
          <a:xfrm>
            <a:off x="3466341" y="204306"/>
            <a:ext cx="8240532" cy="527474"/>
          </a:xfrm>
          <a:prstGeom prst="rect">
            <a:avLst/>
          </a:prstGeom>
        </p:spPr>
        <p:txBody>
          <a:bodyPr lIns="0"/>
          <a:lstStyle>
            <a:lvl1pPr>
              <a:defRPr sz="2462" b="1" i="0">
                <a:solidFill>
                  <a:srgbClr val="FFFFFF"/>
                </a:solidFill>
                <a:latin typeface="Calibri"/>
                <a:cs typeface="Calibri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24" name="Content Placeholder 18"/>
          <p:cNvSpPr>
            <a:spLocks noGrp="1"/>
          </p:cNvSpPr>
          <p:nvPr>
            <p:ph sz="quarter" idx="25" hasCustomPrompt="1"/>
          </p:nvPr>
        </p:nvSpPr>
        <p:spPr>
          <a:xfrm>
            <a:off x="757545" y="6333121"/>
            <a:ext cx="5356399" cy="336442"/>
          </a:xfrm>
          <a:prstGeom prst="rect">
            <a:avLst/>
          </a:prstGeom>
        </p:spPr>
        <p:txBody>
          <a:bodyPr lIns="45720" tIns="45720" rIns="45720" bIns="45720" anchor="t"/>
          <a:lstStyle>
            <a:lvl1pPr marL="0" indent="0">
              <a:lnSpc>
                <a:spcPts val="985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None/>
              <a:defRPr lang="en-US" sz="985" baseline="0" dirty="0">
                <a:solidFill>
                  <a:schemeClr val="bg1">
                    <a:lumMod val="75000"/>
                  </a:schemeClr>
                </a:solidFill>
                <a:latin typeface="Calibri"/>
                <a:cs typeface="Calibri"/>
              </a:defRPr>
            </a:lvl1pPr>
            <a:lvl2pPr marL="247598" indent="0">
              <a:buClr>
                <a:schemeClr val="bg2"/>
              </a:buClr>
              <a:buNone/>
              <a:defRPr lang="en-US" sz="1723" dirty="0">
                <a:latin typeface="Calibri"/>
                <a:cs typeface="Calibri"/>
              </a:defRPr>
            </a:lvl2pPr>
            <a:lvl3pPr>
              <a:buClr>
                <a:schemeClr val="bg2"/>
              </a:buClr>
              <a:defRPr lang="en-US" sz="1477" dirty="0">
                <a:latin typeface="Calibri"/>
                <a:cs typeface="Calibri"/>
              </a:defRPr>
            </a:lvl3pPr>
            <a:lvl4pPr>
              <a:defRPr lang="ru-RU" sz="1969" dirty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lang="en-US" sz="1969" baseline="0" dirty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>
              <a:spcBef>
                <a:spcPts val="369"/>
              </a:spcBef>
              <a:buClr>
                <a:schemeClr val="tx2"/>
              </a:buClr>
            </a:pPr>
            <a:r>
              <a:rPr lang="ru-RU" dirty="0" smtClean="0"/>
              <a:t>Название презентации </a:t>
            </a:r>
          </a:p>
          <a:p>
            <a:pPr lvl="0">
              <a:spcBef>
                <a:spcPts val="369"/>
              </a:spcBef>
              <a:buClr>
                <a:schemeClr val="tx2"/>
              </a:buClr>
            </a:pPr>
            <a:r>
              <a:rPr lang="ru-RU" dirty="0" smtClean="0"/>
              <a:t>обязательно в две строки</a:t>
            </a:r>
            <a:endParaRPr lang="en-US" dirty="0"/>
          </a:p>
        </p:txBody>
      </p:sp>
      <p:sp>
        <p:nvSpPr>
          <p:cNvPr id="31" name="Текст 3"/>
          <p:cNvSpPr>
            <a:spLocks noGrp="1"/>
          </p:cNvSpPr>
          <p:nvPr>
            <p:ph type="body" sz="half" idx="2" hasCustomPrompt="1"/>
          </p:nvPr>
        </p:nvSpPr>
        <p:spPr>
          <a:xfrm>
            <a:off x="454903" y="5901790"/>
            <a:ext cx="11255951" cy="343740"/>
          </a:xfrm>
          <a:prstGeom prst="rect">
            <a:avLst/>
          </a:prstGeom>
        </p:spPr>
        <p:txBody>
          <a:bodyPr lIns="0" rIns="0" bIns="0">
            <a:normAutofit/>
          </a:bodyPr>
          <a:lstStyle>
            <a:lvl1pPr marL="0" indent="-2082514">
              <a:spcBef>
                <a:spcPts val="0"/>
              </a:spcBef>
              <a:spcAft>
                <a:spcPts val="0"/>
              </a:spcAft>
              <a:buNone/>
              <a:defRPr sz="1231" baseline="0">
                <a:solidFill>
                  <a:schemeClr val="bg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562722" indent="0">
              <a:buNone/>
              <a:defRPr sz="1723"/>
            </a:lvl2pPr>
            <a:lvl3pPr marL="1125444" indent="0">
              <a:buNone/>
              <a:defRPr sz="1477"/>
            </a:lvl3pPr>
            <a:lvl4pPr marL="1688165" indent="0">
              <a:buNone/>
              <a:defRPr sz="1231"/>
            </a:lvl4pPr>
            <a:lvl5pPr marL="2250887" indent="0">
              <a:buNone/>
              <a:defRPr sz="1231"/>
            </a:lvl5pPr>
            <a:lvl6pPr marL="2813609" indent="0">
              <a:buNone/>
              <a:defRPr sz="1231"/>
            </a:lvl6pPr>
            <a:lvl7pPr marL="3376331" indent="0">
              <a:buNone/>
              <a:defRPr sz="1231"/>
            </a:lvl7pPr>
            <a:lvl8pPr marL="3939052" indent="0">
              <a:buNone/>
              <a:defRPr sz="1231"/>
            </a:lvl8pPr>
            <a:lvl9pPr marL="4501774" indent="0">
              <a:buNone/>
              <a:defRPr sz="1231"/>
            </a:lvl9pPr>
          </a:lstStyle>
          <a:p>
            <a:pPr lvl="0"/>
            <a:r>
              <a:rPr lang="ru-RU" dirty="0" smtClean="0"/>
              <a:t>Источники: Введите </a:t>
            </a:r>
            <a:r>
              <a:rPr lang="en-US" dirty="0" smtClean="0"/>
              <a:t>Tab</a:t>
            </a:r>
            <a:r>
              <a:rPr lang="ru-RU" dirty="0" smtClean="0"/>
              <a:t> → </a:t>
            </a:r>
            <a:r>
              <a:rPr lang="en-US" dirty="0" smtClean="0"/>
              <a:t>“</a:t>
            </a:r>
            <a:r>
              <a:rPr lang="ru-RU" dirty="0" smtClean="0"/>
              <a:t>Источники</a:t>
            </a:r>
            <a:r>
              <a:rPr lang="en-US" dirty="0" smtClean="0"/>
              <a:t>:”</a:t>
            </a:r>
            <a:r>
              <a:rPr lang="ru-RU" dirty="0" smtClean="0"/>
              <a:t>, затем </a:t>
            </a:r>
            <a:r>
              <a:rPr lang="en-US" dirty="0" smtClean="0"/>
              <a:t>Tab</a:t>
            </a:r>
            <a:r>
              <a:rPr lang="ru-RU" dirty="0" smtClean="0"/>
              <a:t> → Укажите источник. Разделяйте несколько источников точкой с запятой</a:t>
            </a:r>
            <a:r>
              <a:rPr lang="en-US" dirty="0" smtClean="0"/>
              <a:t> (;</a:t>
            </a:r>
            <a:endParaRPr lang="ru-RU" dirty="0" smtClean="0"/>
          </a:p>
        </p:txBody>
      </p:sp>
      <p:sp>
        <p:nvSpPr>
          <p:cNvPr id="32" name="Content Placeholder 18"/>
          <p:cNvSpPr>
            <a:spLocks noGrp="1"/>
          </p:cNvSpPr>
          <p:nvPr>
            <p:ph sz="quarter" idx="12" hasCustomPrompt="1"/>
          </p:nvPr>
        </p:nvSpPr>
        <p:spPr>
          <a:xfrm>
            <a:off x="461032" y="1182842"/>
            <a:ext cx="5487708" cy="258224"/>
          </a:xfrm>
          <a:prstGeom prst="rect">
            <a:avLst/>
          </a:prstGeom>
        </p:spPr>
        <p:txBody>
          <a:bodyPr lIns="45720" tIns="45720" rIns="45720" bIns="45720"/>
          <a:lstStyle>
            <a:lvl1pPr>
              <a:spcBef>
                <a:spcPts val="0"/>
              </a:spcBef>
              <a:buClr>
                <a:schemeClr val="tx2"/>
              </a:buClr>
              <a:defRPr sz="1969" b="1">
                <a:solidFill>
                  <a:schemeClr val="tx1"/>
                </a:solidFill>
                <a:latin typeface="Calibri"/>
                <a:cs typeface="Calibri"/>
              </a:defRPr>
            </a:lvl1pPr>
            <a:lvl2pPr marL="472686" indent="-225089">
              <a:spcBef>
                <a:spcPts val="369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723">
                <a:solidFill>
                  <a:schemeClr val="tx1"/>
                </a:solidFill>
                <a:latin typeface="Calibri"/>
                <a:cs typeface="Calibri"/>
              </a:defRPr>
            </a:lvl2pPr>
            <a:lvl3pPr marL="697776" indent="-225089">
              <a:spcBef>
                <a:spcPts val="369"/>
              </a:spcBef>
              <a:buClr>
                <a:schemeClr val="bg2"/>
              </a:buClr>
              <a:buFont typeface="Arial" panose="020B0604020202020204" pitchFamily="34" charset="0"/>
              <a:buChar char="‒"/>
              <a:defRPr sz="1477">
                <a:solidFill>
                  <a:schemeClr val="tx1"/>
                </a:solidFill>
                <a:latin typeface="Calibri"/>
                <a:cs typeface="Calibri"/>
              </a:defRPr>
            </a:lvl3pPr>
            <a:lvl4pPr>
              <a:spcBef>
                <a:spcPts val="369"/>
              </a:spcBef>
              <a:buClr>
                <a:schemeClr val="tx2"/>
              </a:buClr>
              <a:defRPr sz="1969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477145" indent="-351701">
              <a:spcBef>
                <a:spcPts val="369"/>
              </a:spcBef>
              <a:buClr>
                <a:schemeClr val="tx2"/>
              </a:buClr>
              <a:buFont typeface="Arial" pitchFamily="34" charset="0"/>
              <a:buChar char="•"/>
              <a:defRPr sz="1969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1688165" indent="-273545">
              <a:spcBef>
                <a:spcPts val="369"/>
              </a:spcBef>
              <a:buClr>
                <a:schemeClr val="tx2"/>
              </a:buClr>
              <a:buFont typeface="Symbol" pitchFamily="18" charset="2"/>
              <a:buChar char="-"/>
              <a:defRPr sz="1969" baseline="0">
                <a:latin typeface="+mn-lt"/>
              </a:defRPr>
            </a:lvl6pPr>
          </a:lstStyle>
          <a:p>
            <a:pPr lvl="0"/>
            <a:r>
              <a:rPr lang="ru-RU" dirty="0" smtClean="0"/>
              <a:t>Заголовок</a:t>
            </a:r>
            <a:endParaRPr lang="en-US" dirty="0" smtClean="0"/>
          </a:p>
        </p:txBody>
      </p:sp>
      <p:sp>
        <p:nvSpPr>
          <p:cNvPr id="33" name="Content Placeholder 18"/>
          <p:cNvSpPr>
            <a:spLocks noGrp="1"/>
          </p:cNvSpPr>
          <p:nvPr>
            <p:ph sz="quarter" idx="26" hasCustomPrompt="1"/>
          </p:nvPr>
        </p:nvSpPr>
        <p:spPr>
          <a:xfrm>
            <a:off x="461437" y="1458532"/>
            <a:ext cx="5498967" cy="258224"/>
          </a:xfrm>
          <a:prstGeom prst="rect">
            <a:avLst/>
          </a:prstGeom>
        </p:spPr>
        <p:txBody>
          <a:bodyPr lIns="45720" tIns="45720" rIns="45720" bIns="45720"/>
          <a:lstStyle>
            <a:lvl1pPr>
              <a:spcBef>
                <a:spcPts val="0"/>
              </a:spcBef>
              <a:buClr>
                <a:schemeClr val="tx2"/>
              </a:buClr>
              <a:defRPr sz="1723" b="0">
                <a:solidFill>
                  <a:schemeClr val="tx1"/>
                </a:solidFill>
                <a:latin typeface="Calibri"/>
                <a:cs typeface="Calibri"/>
              </a:defRPr>
            </a:lvl1pPr>
            <a:lvl2pPr marL="472686" indent="-225089">
              <a:spcBef>
                <a:spcPts val="369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723">
                <a:solidFill>
                  <a:schemeClr val="tx1"/>
                </a:solidFill>
                <a:latin typeface="Calibri"/>
                <a:cs typeface="Calibri"/>
              </a:defRPr>
            </a:lvl2pPr>
            <a:lvl3pPr marL="697776" indent="-225089">
              <a:spcBef>
                <a:spcPts val="369"/>
              </a:spcBef>
              <a:buClr>
                <a:schemeClr val="bg2"/>
              </a:buClr>
              <a:buFont typeface="Arial" panose="020B0604020202020204" pitchFamily="34" charset="0"/>
              <a:buChar char="‒"/>
              <a:defRPr sz="1477">
                <a:solidFill>
                  <a:schemeClr val="tx1"/>
                </a:solidFill>
                <a:latin typeface="Calibri"/>
                <a:cs typeface="Calibri"/>
              </a:defRPr>
            </a:lvl3pPr>
            <a:lvl4pPr>
              <a:spcBef>
                <a:spcPts val="369"/>
              </a:spcBef>
              <a:buClr>
                <a:schemeClr val="tx2"/>
              </a:buClr>
              <a:defRPr sz="1969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477145" indent="-351701">
              <a:spcBef>
                <a:spcPts val="369"/>
              </a:spcBef>
              <a:buClr>
                <a:schemeClr val="tx2"/>
              </a:buClr>
              <a:buFont typeface="Arial" pitchFamily="34" charset="0"/>
              <a:buChar char="•"/>
              <a:defRPr sz="1969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1688165" indent="-273545">
              <a:spcBef>
                <a:spcPts val="369"/>
              </a:spcBef>
              <a:buClr>
                <a:schemeClr val="tx2"/>
              </a:buClr>
              <a:buFont typeface="Symbol" pitchFamily="18" charset="2"/>
              <a:buChar char="-"/>
              <a:defRPr sz="1969" baseline="0">
                <a:latin typeface="+mn-lt"/>
              </a:defRPr>
            </a:lvl6pPr>
          </a:lstStyle>
          <a:p>
            <a:pPr lvl="0"/>
            <a:r>
              <a:rPr lang="ru-RU" dirty="0" smtClean="0"/>
              <a:t>Подзаголовок</a:t>
            </a:r>
            <a:endParaRPr lang="en-US" dirty="0" smtClean="0"/>
          </a:p>
        </p:txBody>
      </p:sp>
      <p:sp>
        <p:nvSpPr>
          <p:cNvPr id="34" name="Content Placeholder 18"/>
          <p:cNvSpPr>
            <a:spLocks noGrp="1"/>
          </p:cNvSpPr>
          <p:nvPr>
            <p:ph sz="quarter" idx="27" hasCustomPrompt="1"/>
          </p:nvPr>
        </p:nvSpPr>
        <p:spPr>
          <a:xfrm>
            <a:off x="6262639" y="1183605"/>
            <a:ext cx="5459877" cy="258224"/>
          </a:xfrm>
          <a:prstGeom prst="rect">
            <a:avLst/>
          </a:prstGeom>
        </p:spPr>
        <p:txBody>
          <a:bodyPr lIns="45720" tIns="45720" rIns="45720" bIns="45720"/>
          <a:lstStyle>
            <a:lvl1pPr>
              <a:spcBef>
                <a:spcPts val="0"/>
              </a:spcBef>
              <a:buClr>
                <a:schemeClr val="tx2"/>
              </a:buClr>
              <a:defRPr sz="1969" b="1">
                <a:solidFill>
                  <a:schemeClr val="tx1"/>
                </a:solidFill>
                <a:latin typeface="Calibri"/>
                <a:cs typeface="Calibri"/>
              </a:defRPr>
            </a:lvl1pPr>
            <a:lvl2pPr marL="472686" indent="-225089">
              <a:spcBef>
                <a:spcPts val="369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723">
                <a:solidFill>
                  <a:schemeClr val="tx1"/>
                </a:solidFill>
                <a:latin typeface="Calibri"/>
                <a:cs typeface="Calibri"/>
              </a:defRPr>
            </a:lvl2pPr>
            <a:lvl3pPr marL="697776" indent="-225089">
              <a:spcBef>
                <a:spcPts val="369"/>
              </a:spcBef>
              <a:buClr>
                <a:schemeClr val="bg2"/>
              </a:buClr>
              <a:buFont typeface="Arial" panose="020B0604020202020204" pitchFamily="34" charset="0"/>
              <a:buChar char="‒"/>
              <a:defRPr sz="1477">
                <a:solidFill>
                  <a:schemeClr val="tx1"/>
                </a:solidFill>
                <a:latin typeface="Calibri"/>
                <a:cs typeface="Calibri"/>
              </a:defRPr>
            </a:lvl3pPr>
            <a:lvl4pPr>
              <a:spcBef>
                <a:spcPts val="369"/>
              </a:spcBef>
              <a:buClr>
                <a:schemeClr val="tx2"/>
              </a:buClr>
              <a:defRPr sz="1969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477145" indent="-351701">
              <a:spcBef>
                <a:spcPts val="369"/>
              </a:spcBef>
              <a:buClr>
                <a:schemeClr val="tx2"/>
              </a:buClr>
              <a:buFont typeface="Arial" pitchFamily="34" charset="0"/>
              <a:buChar char="•"/>
              <a:defRPr sz="1969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1688165" indent="-273545">
              <a:spcBef>
                <a:spcPts val="369"/>
              </a:spcBef>
              <a:buClr>
                <a:schemeClr val="tx2"/>
              </a:buClr>
              <a:buFont typeface="Symbol" pitchFamily="18" charset="2"/>
              <a:buChar char="-"/>
              <a:defRPr sz="1969" baseline="0">
                <a:latin typeface="+mn-lt"/>
              </a:defRPr>
            </a:lvl6pPr>
          </a:lstStyle>
          <a:p>
            <a:pPr lvl="0"/>
            <a:r>
              <a:rPr lang="ru-RU" dirty="0" smtClean="0"/>
              <a:t>Заголовок</a:t>
            </a:r>
            <a:endParaRPr lang="en-US" dirty="0" smtClean="0"/>
          </a:p>
        </p:txBody>
      </p:sp>
      <p:sp>
        <p:nvSpPr>
          <p:cNvPr id="37" name="Content Placeholder 18"/>
          <p:cNvSpPr>
            <a:spLocks noGrp="1"/>
          </p:cNvSpPr>
          <p:nvPr>
            <p:ph sz="quarter" idx="28" hasCustomPrompt="1"/>
          </p:nvPr>
        </p:nvSpPr>
        <p:spPr>
          <a:xfrm>
            <a:off x="6263673" y="1459295"/>
            <a:ext cx="5471079" cy="258224"/>
          </a:xfrm>
          <a:prstGeom prst="rect">
            <a:avLst/>
          </a:prstGeom>
        </p:spPr>
        <p:txBody>
          <a:bodyPr lIns="45720" tIns="45720" rIns="45720" bIns="45720"/>
          <a:lstStyle>
            <a:lvl1pPr>
              <a:spcBef>
                <a:spcPts val="0"/>
              </a:spcBef>
              <a:buClr>
                <a:schemeClr val="tx2"/>
              </a:buClr>
              <a:defRPr sz="1723" b="0">
                <a:solidFill>
                  <a:schemeClr val="tx1"/>
                </a:solidFill>
                <a:latin typeface="Calibri"/>
                <a:cs typeface="Calibri"/>
              </a:defRPr>
            </a:lvl1pPr>
            <a:lvl2pPr marL="472686" indent="-225089">
              <a:spcBef>
                <a:spcPts val="369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723">
                <a:solidFill>
                  <a:schemeClr val="tx1"/>
                </a:solidFill>
                <a:latin typeface="Calibri"/>
                <a:cs typeface="Calibri"/>
              </a:defRPr>
            </a:lvl2pPr>
            <a:lvl3pPr marL="697776" indent="-225089">
              <a:spcBef>
                <a:spcPts val="369"/>
              </a:spcBef>
              <a:buClr>
                <a:schemeClr val="bg2"/>
              </a:buClr>
              <a:buFont typeface="Arial" panose="020B0604020202020204" pitchFamily="34" charset="0"/>
              <a:buChar char="‒"/>
              <a:defRPr sz="1477">
                <a:solidFill>
                  <a:schemeClr val="tx1"/>
                </a:solidFill>
                <a:latin typeface="Calibri"/>
                <a:cs typeface="Calibri"/>
              </a:defRPr>
            </a:lvl3pPr>
            <a:lvl4pPr>
              <a:spcBef>
                <a:spcPts val="369"/>
              </a:spcBef>
              <a:buClr>
                <a:schemeClr val="tx2"/>
              </a:buClr>
              <a:defRPr sz="1969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477145" indent="-351701">
              <a:spcBef>
                <a:spcPts val="369"/>
              </a:spcBef>
              <a:buClr>
                <a:schemeClr val="tx2"/>
              </a:buClr>
              <a:buFont typeface="Arial" pitchFamily="34" charset="0"/>
              <a:buChar char="•"/>
              <a:defRPr sz="1969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1688165" indent="-273545">
              <a:spcBef>
                <a:spcPts val="369"/>
              </a:spcBef>
              <a:buClr>
                <a:schemeClr val="tx2"/>
              </a:buClr>
              <a:buFont typeface="Symbol" pitchFamily="18" charset="2"/>
              <a:buChar char="-"/>
              <a:defRPr sz="1969" baseline="0">
                <a:latin typeface="+mn-lt"/>
              </a:defRPr>
            </a:lvl6pPr>
          </a:lstStyle>
          <a:p>
            <a:pPr lvl="0"/>
            <a:r>
              <a:rPr lang="ru-RU" dirty="0" smtClean="0"/>
              <a:t>Подзаголовок</a:t>
            </a:r>
            <a:endParaRPr lang="en-US" dirty="0" smtClean="0"/>
          </a:p>
        </p:txBody>
      </p:sp>
      <p:sp>
        <p:nvSpPr>
          <p:cNvPr id="15" name="Content Placeholder 18"/>
          <p:cNvSpPr>
            <a:spLocks noGrp="1"/>
          </p:cNvSpPr>
          <p:nvPr>
            <p:ph sz="quarter" idx="11" hasCustomPrompt="1"/>
          </p:nvPr>
        </p:nvSpPr>
        <p:spPr>
          <a:xfrm>
            <a:off x="454905" y="1914411"/>
            <a:ext cx="5493835" cy="3790914"/>
          </a:xfrm>
          <a:prstGeom prst="rect">
            <a:avLst/>
          </a:prstGeom>
        </p:spPr>
        <p:txBody>
          <a:bodyPr lIns="45720" tIns="45720" rIns="45720" bIns="45720"/>
          <a:lstStyle>
            <a:lvl1pPr>
              <a:spcBef>
                <a:spcPts val="0"/>
              </a:spcBef>
              <a:buClr>
                <a:schemeClr val="tx2"/>
              </a:buClr>
              <a:defRPr sz="1969">
                <a:solidFill>
                  <a:schemeClr val="tx1"/>
                </a:solidFill>
                <a:latin typeface="Calibri"/>
                <a:cs typeface="Calibri"/>
              </a:defRPr>
            </a:lvl1pPr>
            <a:lvl2pPr marL="472686" indent="-225089"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723">
                <a:solidFill>
                  <a:schemeClr val="tx1"/>
                </a:solidFill>
                <a:latin typeface="Calibri"/>
                <a:cs typeface="Calibri"/>
              </a:defRPr>
            </a:lvl2pPr>
            <a:lvl3pPr marL="697776" indent="-225089">
              <a:spcBef>
                <a:spcPts val="0"/>
              </a:spcBef>
              <a:buClr>
                <a:schemeClr val="bg2"/>
              </a:buClr>
              <a:buFont typeface="Arial" panose="020B0604020202020204" pitchFamily="34" charset="0"/>
              <a:buChar char="‒"/>
              <a:defRPr sz="1477">
                <a:solidFill>
                  <a:schemeClr val="tx1"/>
                </a:solidFill>
                <a:latin typeface="Calibri"/>
                <a:cs typeface="Calibri"/>
              </a:defRPr>
            </a:lvl3pPr>
            <a:lvl4pPr>
              <a:spcBef>
                <a:spcPts val="369"/>
              </a:spcBef>
              <a:buClr>
                <a:schemeClr val="tx2"/>
              </a:buClr>
              <a:defRPr sz="1969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477145" indent="-351701">
              <a:spcBef>
                <a:spcPts val="369"/>
              </a:spcBef>
              <a:buClr>
                <a:schemeClr val="tx2"/>
              </a:buClr>
              <a:buFont typeface="Arial" pitchFamily="34" charset="0"/>
              <a:buChar char="•"/>
              <a:defRPr sz="1969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1688165" indent="-273545">
              <a:spcBef>
                <a:spcPts val="369"/>
              </a:spcBef>
              <a:buClr>
                <a:schemeClr val="tx2"/>
              </a:buClr>
              <a:buFont typeface="Symbol" pitchFamily="18" charset="2"/>
              <a:buChar char="-"/>
              <a:defRPr sz="1969" baseline="0">
                <a:latin typeface="+mn-lt"/>
              </a:defRPr>
            </a:lvl6pPr>
          </a:lstStyle>
          <a:p>
            <a:pPr lvl="0"/>
            <a:r>
              <a:rPr lang="ru-RU" dirty="0" smtClean="0"/>
              <a:t>Блок №1 для текста или диаграммы</a:t>
            </a:r>
            <a:endParaRPr lang="en-US" dirty="0" smtClean="0"/>
          </a:p>
          <a:p>
            <a:pPr lvl="1"/>
            <a:r>
              <a:rPr lang="ru-RU" dirty="0" smtClean="0"/>
              <a:t>Второй уровень</a:t>
            </a:r>
            <a:endParaRPr lang="en-US" dirty="0" smtClean="0"/>
          </a:p>
          <a:p>
            <a:pPr lvl="2"/>
            <a:r>
              <a:rPr lang="ru-RU" dirty="0" smtClean="0"/>
              <a:t>Третий уровень</a:t>
            </a:r>
            <a:endParaRPr lang="en-US" dirty="0" smtClean="0"/>
          </a:p>
        </p:txBody>
      </p:sp>
      <p:sp>
        <p:nvSpPr>
          <p:cNvPr id="19" name="Content Placeholder 18"/>
          <p:cNvSpPr>
            <a:spLocks noGrp="1"/>
          </p:cNvSpPr>
          <p:nvPr>
            <p:ph sz="quarter" idx="29" hasCustomPrompt="1"/>
          </p:nvPr>
        </p:nvSpPr>
        <p:spPr>
          <a:xfrm>
            <a:off x="6263673" y="1914411"/>
            <a:ext cx="5447180" cy="3790914"/>
          </a:xfrm>
          <a:prstGeom prst="rect">
            <a:avLst/>
          </a:prstGeom>
        </p:spPr>
        <p:txBody>
          <a:bodyPr lIns="45720" tIns="45720" rIns="45720" bIns="45720"/>
          <a:lstStyle>
            <a:lvl1pPr>
              <a:spcBef>
                <a:spcPts val="0"/>
              </a:spcBef>
              <a:buClr>
                <a:schemeClr val="tx2"/>
              </a:buClr>
              <a:defRPr sz="1969">
                <a:solidFill>
                  <a:schemeClr val="tx1"/>
                </a:solidFill>
                <a:latin typeface="Calibri"/>
                <a:cs typeface="Calibri"/>
              </a:defRPr>
            </a:lvl1pPr>
            <a:lvl2pPr marL="472686" indent="-225089"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723">
                <a:solidFill>
                  <a:schemeClr val="tx1"/>
                </a:solidFill>
                <a:latin typeface="Calibri"/>
                <a:cs typeface="Calibri"/>
              </a:defRPr>
            </a:lvl2pPr>
            <a:lvl3pPr marL="697776" indent="-225089">
              <a:spcBef>
                <a:spcPts val="0"/>
              </a:spcBef>
              <a:buClr>
                <a:schemeClr val="bg2"/>
              </a:buClr>
              <a:buFont typeface="Arial" panose="020B0604020202020204" pitchFamily="34" charset="0"/>
              <a:buChar char="‒"/>
              <a:defRPr sz="1477">
                <a:solidFill>
                  <a:schemeClr val="tx1"/>
                </a:solidFill>
                <a:latin typeface="Calibri"/>
                <a:cs typeface="Calibri"/>
              </a:defRPr>
            </a:lvl3pPr>
            <a:lvl4pPr>
              <a:spcBef>
                <a:spcPts val="369"/>
              </a:spcBef>
              <a:buClr>
                <a:schemeClr val="tx2"/>
              </a:buClr>
              <a:defRPr sz="1969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477145" indent="-351701">
              <a:spcBef>
                <a:spcPts val="369"/>
              </a:spcBef>
              <a:buClr>
                <a:schemeClr val="tx2"/>
              </a:buClr>
              <a:buFont typeface="Arial" pitchFamily="34" charset="0"/>
              <a:buChar char="•"/>
              <a:defRPr sz="1969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1688165" indent="-273545">
              <a:spcBef>
                <a:spcPts val="369"/>
              </a:spcBef>
              <a:buClr>
                <a:schemeClr val="tx2"/>
              </a:buClr>
              <a:buFont typeface="Symbol" pitchFamily="18" charset="2"/>
              <a:buChar char="-"/>
              <a:defRPr sz="1969" baseline="0">
                <a:latin typeface="+mn-lt"/>
              </a:defRPr>
            </a:lvl6pPr>
          </a:lstStyle>
          <a:p>
            <a:pPr lvl="0"/>
            <a:r>
              <a:rPr lang="ru-RU" dirty="0" smtClean="0"/>
              <a:t>Блок №1 для текста или диаграммы</a:t>
            </a:r>
            <a:endParaRPr lang="en-US" dirty="0" smtClean="0"/>
          </a:p>
          <a:p>
            <a:pPr lvl="1"/>
            <a:r>
              <a:rPr lang="ru-RU" dirty="0" smtClean="0"/>
              <a:t>Второй уровень</a:t>
            </a:r>
            <a:endParaRPr lang="en-US" dirty="0" smtClean="0"/>
          </a:p>
          <a:p>
            <a:pPr lvl="2"/>
            <a:r>
              <a:rPr lang="ru-RU" dirty="0" smtClean="0"/>
              <a:t>Третий уровень</a:t>
            </a:r>
            <a:endParaRPr lang="en-US" dirty="0" smtClean="0"/>
          </a:p>
        </p:txBody>
      </p:sp>
      <p:sp>
        <p:nvSpPr>
          <p:cNvPr id="21" name="Slide Number Placeholder 5"/>
          <p:cNvSpPr>
            <a:spLocks noGrp="1"/>
          </p:cNvSpPr>
          <p:nvPr>
            <p:ph type="sldNum" sz="quarter" idx="13"/>
          </p:nvPr>
        </p:nvSpPr>
        <p:spPr>
          <a:xfrm>
            <a:off x="-101599" y="6421818"/>
            <a:ext cx="667730" cy="414443"/>
          </a:xfrm>
          <a:prstGeom prst="rect">
            <a:avLst/>
          </a:prstGeom>
        </p:spPr>
        <p:txBody>
          <a:bodyPr lIns="46800" rIns="0" anchor="ctr" anchorCtr="0"/>
          <a:lstStyle>
            <a:lvl1pPr algn="r">
              <a:defRPr sz="1400" b="0">
                <a:solidFill>
                  <a:srgbClr val="EABF55"/>
                </a:solidFill>
                <a:latin typeface="Calibri"/>
                <a:cs typeface="Calibri"/>
              </a:defRPr>
            </a:lvl1pPr>
          </a:lstStyle>
          <a:p>
            <a:pPr>
              <a:defRPr/>
            </a:pPr>
            <a:fld id="{6113E31D-E2AB-40D1-8B51-AFA5AFEF393A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363236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7413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DA2677-3B47-435B-A179-E6243DE11AFB}" type="datetimeFigureOut">
              <a:rPr lang="ru-RU" smtClean="0"/>
              <a:t>26.10.2022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5DEB1F-7F0B-48EC-B2F6-A964A480CE7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8347284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е ассиметричные колонки_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1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24311" y="-1"/>
            <a:ext cx="9778321" cy="809201"/>
          </a:xfrm>
          <a:prstGeom prst="rect">
            <a:avLst/>
          </a:prstGeom>
        </p:spPr>
      </p:pic>
      <p:pic>
        <p:nvPicPr>
          <p:cNvPr id="19" name="Picture 18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8380" y="233246"/>
            <a:ext cx="2084666" cy="318017"/>
          </a:xfrm>
          <a:prstGeom prst="rect">
            <a:avLst/>
          </a:prstGeom>
        </p:spPr>
      </p:pic>
      <p:sp>
        <p:nvSpPr>
          <p:cNvPr id="25" name="Прямоугольник 7"/>
          <p:cNvSpPr/>
          <p:nvPr userDrawn="1"/>
        </p:nvSpPr>
        <p:spPr>
          <a:xfrm>
            <a:off x="10763006" y="0"/>
            <a:ext cx="1386213" cy="2817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11254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31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www.rosgeo.com</a:t>
            </a:r>
          </a:p>
        </p:txBody>
      </p:sp>
      <p:sp>
        <p:nvSpPr>
          <p:cNvPr id="34" name="Заголовок 1"/>
          <p:cNvSpPr>
            <a:spLocks noGrp="1"/>
          </p:cNvSpPr>
          <p:nvPr>
            <p:ph type="title"/>
          </p:nvPr>
        </p:nvSpPr>
        <p:spPr>
          <a:xfrm>
            <a:off x="3466341" y="204306"/>
            <a:ext cx="8240532" cy="527474"/>
          </a:xfrm>
          <a:prstGeom prst="rect">
            <a:avLst/>
          </a:prstGeom>
        </p:spPr>
        <p:txBody>
          <a:bodyPr lIns="0"/>
          <a:lstStyle>
            <a:lvl1pPr>
              <a:defRPr sz="2462" b="1" i="0">
                <a:solidFill>
                  <a:srgbClr val="FFFFFF"/>
                </a:solidFill>
                <a:latin typeface="Calibri"/>
                <a:cs typeface="Calibri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5" name="Content Placeholder 18"/>
          <p:cNvSpPr>
            <a:spLocks noGrp="1"/>
          </p:cNvSpPr>
          <p:nvPr>
            <p:ph sz="quarter" idx="23" hasCustomPrompt="1"/>
          </p:nvPr>
        </p:nvSpPr>
        <p:spPr>
          <a:xfrm>
            <a:off x="757545" y="6333121"/>
            <a:ext cx="5356399" cy="336442"/>
          </a:xfrm>
          <a:prstGeom prst="rect">
            <a:avLst/>
          </a:prstGeom>
        </p:spPr>
        <p:txBody>
          <a:bodyPr lIns="45720" tIns="45720" rIns="45720" bIns="45720" anchor="t"/>
          <a:lstStyle>
            <a:lvl1pPr marL="0" indent="0">
              <a:lnSpc>
                <a:spcPts val="985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None/>
              <a:defRPr lang="en-US" sz="985" baseline="0" dirty="0">
                <a:solidFill>
                  <a:schemeClr val="bg1">
                    <a:lumMod val="75000"/>
                  </a:schemeClr>
                </a:solidFill>
                <a:latin typeface="Calibri"/>
                <a:cs typeface="Calibri"/>
              </a:defRPr>
            </a:lvl1pPr>
            <a:lvl2pPr marL="247598" indent="0">
              <a:buClr>
                <a:schemeClr val="bg2"/>
              </a:buClr>
              <a:buNone/>
              <a:defRPr lang="en-US" sz="1723" dirty="0">
                <a:latin typeface="Calibri"/>
                <a:cs typeface="Calibri"/>
              </a:defRPr>
            </a:lvl2pPr>
            <a:lvl3pPr>
              <a:buClr>
                <a:schemeClr val="bg2"/>
              </a:buClr>
              <a:defRPr lang="en-US" sz="1477" dirty="0">
                <a:latin typeface="Calibri"/>
                <a:cs typeface="Calibri"/>
              </a:defRPr>
            </a:lvl3pPr>
            <a:lvl4pPr>
              <a:defRPr lang="ru-RU" sz="1969" dirty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lang="en-US" sz="1969" baseline="0" dirty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>
              <a:spcBef>
                <a:spcPts val="369"/>
              </a:spcBef>
              <a:buClr>
                <a:schemeClr val="tx2"/>
              </a:buClr>
            </a:pPr>
            <a:r>
              <a:rPr lang="ru-RU" dirty="0" smtClean="0"/>
              <a:t>Название презентации </a:t>
            </a:r>
          </a:p>
          <a:p>
            <a:pPr lvl="0">
              <a:spcBef>
                <a:spcPts val="369"/>
              </a:spcBef>
              <a:buClr>
                <a:schemeClr val="tx2"/>
              </a:buClr>
            </a:pPr>
            <a:r>
              <a:rPr lang="ru-RU" dirty="0" smtClean="0"/>
              <a:t>обязательно в две строки</a:t>
            </a:r>
            <a:endParaRPr lang="en-US" dirty="0"/>
          </a:p>
        </p:txBody>
      </p:sp>
      <p:sp>
        <p:nvSpPr>
          <p:cNvPr id="37" name="Content Placeholder 18"/>
          <p:cNvSpPr>
            <a:spLocks noGrp="1"/>
          </p:cNvSpPr>
          <p:nvPr>
            <p:ph sz="quarter" idx="12" hasCustomPrompt="1"/>
          </p:nvPr>
        </p:nvSpPr>
        <p:spPr>
          <a:xfrm>
            <a:off x="461032" y="1182842"/>
            <a:ext cx="11238156" cy="258224"/>
          </a:xfrm>
          <a:prstGeom prst="rect">
            <a:avLst/>
          </a:prstGeom>
        </p:spPr>
        <p:txBody>
          <a:bodyPr lIns="45720" tIns="45720" rIns="45720" bIns="45720"/>
          <a:lstStyle>
            <a:lvl1pPr>
              <a:spcBef>
                <a:spcPts val="369"/>
              </a:spcBef>
              <a:buClr>
                <a:schemeClr val="tx2"/>
              </a:buClr>
              <a:defRPr sz="1969" b="1">
                <a:solidFill>
                  <a:schemeClr val="tx1"/>
                </a:solidFill>
                <a:latin typeface="Calibri"/>
                <a:cs typeface="Calibri"/>
              </a:defRPr>
            </a:lvl1pPr>
            <a:lvl2pPr marL="472686" indent="-225089">
              <a:spcBef>
                <a:spcPts val="369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723">
                <a:solidFill>
                  <a:schemeClr val="tx1"/>
                </a:solidFill>
                <a:latin typeface="Calibri"/>
                <a:cs typeface="Calibri"/>
              </a:defRPr>
            </a:lvl2pPr>
            <a:lvl3pPr marL="697776" indent="-225089">
              <a:spcBef>
                <a:spcPts val="369"/>
              </a:spcBef>
              <a:buClr>
                <a:schemeClr val="bg2"/>
              </a:buClr>
              <a:buFont typeface="Arial" panose="020B0604020202020204" pitchFamily="34" charset="0"/>
              <a:buChar char="‒"/>
              <a:defRPr sz="1477">
                <a:solidFill>
                  <a:schemeClr val="tx1"/>
                </a:solidFill>
                <a:latin typeface="Calibri"/>
                <a:cs typeface="Calibri"/>
              </a:defRPr>
            </a:lvl3pPr>
            <a:lvl4pPr>
              <a:spcBef>
                <a:spcPts val="369"/>
              </a:spcBef>
              <a:buClr>
                <a:schemeClr val="tx2"/>
              </a:buClr>
              <a:defRPr sz="1969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477145" indent="-351701">
              <a:spcBef>
                <a:spcPts val="369"/>
              </a:spcBef>
              <a:buClr>
                <a:schemeClr val="tx2"/>
              </a:buClr>
              <a:buFont typeface="Arial" pitchFamily="34" charset="0"/>
              <a:buChar char="•"/>
              <a:defRPr sz="1969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1688165" indent="-273545">
              <a:spcBef>
                <a:spcPts val="369"/>
              </a:spcBef>
              <a:buClr>
                <a:schemeClr val="tx2"/>
              </a:buClr>
              <a:buFont typeface="Symbol" pitchFamily="18" charset="2"/>
              <a:buChar char="-"/>
              <a:defRPr sz="1969" baseline="0">
                <a:latin typeface="+mn-lt"/>
              </a:defRPr>
            </a:lvl6pPr>
          </a:lstStyle>
          <a:p>
            <a:pPr lvl="0"/>
            <a:r>
              <a:rPr lang="ru-RU" dirty="0" smtClean="0"/>
              <a:t>Заголовок</a:t>
            </a:r>
            <a:endParaRPr lang="en-US" dirty="0" smtClean="0"/>
          </a:p>
        </p:txBody>
      </p:sp>
      <p:sp>
        <p:nvSpPr>
          <p:cNvPr id="38" name="Content Placeholder 18"/>
          <p:cNvSpPr>
            <a:spLocks noGrp="1"/>
          </p:cNvSpPr>
          <p:nvPr>
            <p:ph sz="quarter" idx="24" hasCustomPrompt="1"/>
          </p:nvPr>
        </p:nvSpPr>
        <p:spPr>
          <a:xfrm>
            <a:off x="461437" y="1458532"/>
            <a:ext cx="11249415" cy="258224"/>
          </a:xfrm>
          <a:prstGeom prst="rect">
            <a:avLst/>
          </a:prstGeom>
        </p:spPr>
        <p:txBody>
          <a:bodyPr lIns="45720" tIns="45720" rIns="45720" bIns="45720"/>
          <a:lstStyle>
            <a:lvl1pPr>
              <a:spcBef>
                <a:spcPts val="369"/>
              </a:spcBef>
              <a:buClr>
                <a:schemeClr val="tx2"/>
              </a:buClr>
              <a:defRPr sz="1723" b="0">
                <a:solidFill>
                  <a:schemeClr val="tx1"/>
                </a:solidFill>
                <a:latin typeface="Calibri"/>
                <a:cs typeface="Calibri"/>
              </a:defRPr>
            </a:lvl1pPr>
            <a:lvl2pPr marL="472686" indent="-225089">
              <a:spcBef>
                <a:spcPts val="369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723">
                <a:solidFill>
                  <a:schemeClr val="tx1"/>
                </a:solidFill>
                <a:latin typeface="Calibri"/>
                <a:cs typeface="Calibri"/>
              </a:defRPr>
            </a:lvl2pPr>
            <a:lvl3pPr marL="697776" indent="-225089">
              <a:spcBef>
                <a:spcPts val="369"/>
              </a:spcBef>
              <a:buClr>
                <a:schemeClr val="bg2"/>
              </a:buClr>
              <a:buFont typeface="Arial" panose="020B0604020202020204" pitchFamily="34" charset="0"/>
              <a:buChar char="‒"/>
              <a:defRPr sz="1477">
                <a:solidFill>
                  <a:schemeClr val="tx1"/>
                </a:solidFill>
                <a:latin typeface="Calibri"/>
                <a:cs typeface="Calibri"/>
              </a:defRPr>
            </a:lvl3pPr>
            <a:lvl4pPr>
              <a:spcBef>
                <a:spcPts val="369"/>
              </a:spcBef>
              <a:buClr>
                <a:schemeClr val="tx2"/>
              </a:buClr>
              <a:defRPr sz="1969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477145" indent="-351701">
              <a:spcBef>
                <a:spcPts val="369"/>
              </a:spcBef>
              <a:buClr>
                <a:schemeClr val="tx2"/>
              </a:buClr>
              <a:buFont typeface="Arial" pitchFamily="34" charset="0"/>
              <a:buChar char="•"/>
              <a:defRPr sz="1969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1688165" indent="-273545">
              <a:spcBef>
                <a:spcPts val="369"/>
              </a:spcBef>
              <a:buClr>
                <a:schemeClr val="tx2"/>
              </a:buClr>
              <a:buFont typeface="Symbol" pitchFamily="18" charset="2"/>
              <a:buChar char="-"/>
              <a:defRPr sz="1969" baseline="0">
                <a:latin typeface="+mn-lt"/>
              </a:defRPr>
            </a:lvl6pPr>
          </a:lstStyle>
          <a:p>
            <a:pPr lvl="0"/>
            <a:r>
              <a:rPr lang="ru-RU" dirty="0" smtClean="0"/>
              <a:t>Подзаголовок</a:t>
            </a:r>
            <a:endParaRPr lang="en-US" dirty="0" smtClean="0"/>
          </a:p>
        </p:txBody>
      </p:sp>
      <p:sp>
        <p:nvSpPr>
          <p:cNvPr id="13" name="Текст 3"/>
          <p:cNvSpPr>
            <a:spLocks noGrp="1"/>
          </p:cNvSpPr>
          <p:nvPr>
            <p:ph type="body" sz="half" idx="2" hasCustomPrompt="1"/>
          </p:nvPr>
        </p:nvSpPr>
        <p:spPr>
          <a:xfrm>
            <a:off x="454903" y="5901790"/>
            <a:ext cx="11255951" cy="343740"/>
          </a:xfrm>
          <a:prstGeom prst="rect">
            <a:avLst/>
          </a:prstGeom>
        </p:spPr>
        <p:txBody>
          <a:bodyPr lIns="0" rIns="0" bIns="0">
            <a:normAutofit/>
          </a:bodyPr>
          <a:lstStyle>
            <a:lvl1pPr marL="0" indent="-2082514">
              <a:spcBef>
                <a:spcPts val="0"/>
              </a:spcBef>
              <a:spcAft>
                <a:spcPts val="0"/>
              </a:spcAft>
              <a:buNone/>
              <a:defRPr sz="1231" baseline="0">
                <a:solidFill>
                  <a:schemeClr val="bg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562722" indent="0">
              <a:buNone/>
              <a:defRPr sz="1723"/>
            </a:lvl2pPr>
            <a:lvl3pPr marL="1125444" indent="0">
              <a:buNone/>
              <a:defRPr sz="1477"/>
            </a:lvl3pPr>
            <a:lvl4pPr marL="1688165" indent="0">
              <a:buNone/>
              <a:defRPr sz="1231"/>
            </a:lvl4pPr>
            <a:lvl5pPr marL="2250887" indent="0">
              <a:buNone/>
              <a:defRPr sz="1231"/>
            </a:lvl5pPr>
            <a:lvl6pPr marL="2813609" indent="0">
              <a:buNone/>
              <a:defRPr sz="1231"/>
            </a:lvl6pPr>
            <a:lvl7pPr marL="3376331" indent="0">
              <a:buNone/>
              <a:defRPr sz="1231"/>
            </a:lvl7pPr>
            <a:lvl8pPr marL="3939052" indent="0">
              <a:buNone/>
              <a:defRPr sz="1231"/>
            </a:lvl8pPr>
            <a:lvl9pPr marL="4501774" indent="0">
              <a:buNone/>
              <a:defRPr sz="1231"/>
            </a:lvl9pPr>
          </a:lstStyle>
          <a:p>
            <a:pPr lvl="0"/>
            <a:r>
              <a:rPr lang="ru-RU" dirty="0" smtClean="0"/>
              <a:t>Источники: Введите </a:t>
            </a:r>
            <a:r>
              <a:rPr lang="en-US" dirty="0" smtClean="0"/>
              <a:t>Tab</a:t>
            </a:r>
            <a:r>
              <a:rPr lang="ru-RU" dirty="0" smtClean="0"/>
              <a:t> → </a:t>
            </a:r>
            <a:r>
              <a:rPr lang="en-US" dirty="0" smtClean="0"/>
              <a:t>“</a:t>
            </a:r>
            <a:r>
              <a:rPr lang="ru-RU" dirty="0" smtClean="0"/>
              <a:t>Источники</a:t>
            </a:r>
            <a:r>
              <a:rPr lang="en-US" dirty="0" smtClean="0"/>
              <a:t>:”</a:t>
            </a:r>
            <a:r>
              <a:rPr lang="ru-RU" dirty="0" smtClean="0"/>
              <a:t>, затем </a:t>
            </a:r>
            <a:r>
              <a:rPr lang="en-US" dirty="0" smtClean="0"/>
              <a:t>Tab</a:t>
            </a:r>
            <a:r>
              <a:rPr lang="ru-RU" dirty="0" smtClean="0"/>
              <a:t> → Укажите источник. Разделяйте несколько источников точкой с запятой</a:t>
            </a:r>
            <a:r>
              <a:rPr lang="en-US" dirty="0" smtClean="0"/>
              <a:t> (;</a:t>
            </a:r>
            <a:endParaRPr lang="ru-RU" dirty="0" smtClean="0"/>
          </a:p>
        </p:txBody>
      </p:sp>
      <p:sp>
        <p:nvSpPr>
          <p:cNvPr id="14" name="Content Placeholder 18"/>
          <p:cNvSpPr>
            <a:spLocks noGrp="1"/>
          </p:cNvSpPr>
          <p:nvPr>
            <p:ph sz="quarter" idx="11" hasCustomPrompt="1"/>
          </p:nvPr>
        </p:nvSpPr>
        <p:spPr>
          <a:xfrm>
            <a:off x="454905" y="1914411"/>
            <a:ext cx="7745024" cy="3790914"/>
          </a:xfrm>
          <a:prstGeom prst="rect">
            <a:avLst/>
          </a:prstGeom>
        </p:spPr>
        <p:txBody>
          <a:bodyPr lIns="45720" tIns="45720" rIns="45720" bIns="45720"/>
          <a:lstStyle>
            <a:lvl1pPr>
              <a:spcBef>
                <a:spcPts val="0"/>
              </a:spcBef>
              <a:buClr>
                <a:schemeClr val="tx2"/>
              </a:buClr>
              <a:defRPr sz="1969">
                <a:solidFill>
                  <a:schemeClr val="tx1"/>
                </a:solidFill>
                <a:latin typeface="Calibri"/>
                <a:cs typeface="Calibri"/>
              </a:defRPr>
            </a:lvl1pPr>
            <a:lvl2pPr marL="472686" indent="-225089"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723">
                <a:solidFill>
                  <a:schemeClr val="tx1"/>
                </a:solidFill>
                <a:latin typeface="Calibri"/>
                <a:cs typeface="Calibri"/>
              </a:defRPr>
            </a:lvl2pPr>
            <a:lvl3pPr marL="697776" indent="-225089">
              <a:spcBef>
                <a:spcPts val="0"/>
              </a:spcBef>
              <a:buClr>
                <a:schemeClr val="bg2"/>
              </a:buClr>
              <a:buFont typeface="Arial" panose="020B0604020202020204" pitchFamily="34" charset="0"/>
              <a:buChar char="‒"/>
              <a:defRPr sz="1477">
                <a:solidFill>
                  <a:schemeClr val="tx1"/>
                </a:solidFill>
                <a:latin typeface="Calibri"/>
                <a:cs typeface="Calibri"/>
              </a:defRPr>
            </a:lvl3pPr>
            <a:lvl4pPr>
              <a:spcBef>
                <a:spcPts val="369"/>
              </a:spcBef>
              <a:buClr>
                <a:schemeClr val="tx2"/>
              </a:buClr>
              <a:defRPr sz="1969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477145" indent="-351701">
              <a:spcBef>
                <a:spcPts val="369"/>
              </a:spcBef>
              <a:buClr>
                <a:schemeClr val="tx2"/>
              </a:buClr>
              <a:buFont typeface="Arial" pitchFamily="34" charset="0"/>
              <a:buChar char="•"/>
              <a:defRPr sz="1969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1688165" indent="-273545">
              <a:spcBef>
                <a:spcPts val="369"/>
              </a:spcBef>
              <a:buClr>
                <a:schemeClr val="tx2"/>
              </a:buClr>
              <a:buFont typeface="Symbol" pitchFamily="18" charset="2"/>
              <a:buChar char="-"/>
              <a:defRPr sz="1969" baseline="0">
                <a:latin typeface="+mn-lt"/>
              </a:defRPr>
            </a:lvl6pPr>
          </a:lstStyle>
          <a:p>
            <a:pPr lvl="0"/>
            <a:r>
              <a:rPr lang="ru-RU" dirty="0" smtClean="0"/>
              <a:t>Блок №1 для текста или диаграммы</a:t>
            </a:r>
            <a:endParaRPr lang="en-US" dirty="0" smtClean="0"/>
          </a:p>
          <a:p>
            <a:pPr lvl="1"/>
            <a:r>
              <a:rPr lang="ru-RU" dirty="0" smtClean="0"/>
              <a:t>Второй уровень</a:t>
            </a:r>
            <a:endParaRPr lang="en-US" dirty="0" smtClean="0"/>
          </a:p>
          <a:p>
            <a:pPr lvl="2"/>
            <a:r>
              <a:rPr lang="ru-RU" dirty="0" smtClean="0"/>
              <a:t>Третий уровень</a:t>
            </a:r>
            <a:endParaRPr lang="en-US" dirty="0" smtClean="0"/>
          </a:p>
        </p:txBody>
      </p:sp>
      <p:sp>
        <p:nvSpPr>
          <p:cNvPr id="15" name="Content Placeholder 18"/>
          <p:cNvSpPr>
            <a:spLocks noGrp="1"/>
          </p:cNvSpPr>
          <p:nvPr>
            <p:ph sz="quarter" idx="29" hasCustomPrompt="1"/>
          </p:nvPr>
        </p:nvSpPr>
        <p:spPr>
          <a:xfrm>
            <a:off x="8549854" y="1914411"/>
            <a:ext cx="3160998" cy="3790914"/>
          </a:xfrm>
          <a:prstGeom prst="rect">
            <a:avLst/>
          </a:prstGeom>
        </p:spPr>
        <p:txBody>
          <a:bodyPr lIns="45720" tIns="45720" rIns="45720" bIns="45720"/>
          <a:lstStyle>
            <a:lvl1pPr>
              <a:spcBef>
                <a:spcPts val="0"/>
              </a:spcBef>
              <a:buClr>
                <a:schemeClr val="tx2"/>
              </a:buClr>
              <a:defRPr sz="1969">
                <a:solidFill>
                  <a:schemeClr val="tx1"/>
                </a:solidFill>
                <a:latin typeface="Calibri"/>
                <a:cs typeface="Calibri"/>
              </a:defRPr>
            </a:lvl1pPr>
            <a:lvl2pPr marL="472686" indent="-225089"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723">
                <a:solidFill>
                  <a:schemeClr val="tx1"/>
                </a:solidFill>
                <a:latin typeface="Calibri"/>
                <a:cs typeface="Calibri"/>
              </a:defRPr>
            </a:lvl2pPr>
            <a:lvl3pPr marL="697776" indent="-225089">
              <a:spcBef>
                <a:spcPts val="0"/>
              </a:spcBef>
              <a:buClr>
                <a:schemeClr val="bg2"/>
              </a:buClr>
              <a:buFont typeface="Arial" panose="020B0604020202020204" pitchFamily="34" charset="0"/>
              <a:buChar char="‒"/>
              <a:defRPr sz="1477">
                <a:solidFill>
                  <a:schemeClr val="tx1"/>
                </a:solidFill>
                <a:latin typeface="Calibri"/>
                <a:cs typeface="Calibri"/>
              </a:defRPr>
            </a:lvl3pPr>
            <a:lvl4pPr>
              <a:spcBef>
                <a:spcPts val="369"/>
              </a:spcBef>
              <a:buClr>
                <a:schemeClr val="tx2"/>
              </a:buClr>
              <a:defRPr sz="1969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477145" indent="-351701">
              <a:spcBef>
                <a:spcPts val="369"/>
              </a:spcBef>
              <a:buClr>
                <a:schemeClr val="tx2"/>
              </a:buClr>
              <a:buFont typeface="Arial" pitchFamily="34" charset="0"/>
              <a:buChar char="•"/>
              <a:defRPr sz="1969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1688165" indent="-273545">
              <a:spcBef>
                <a:spcPts val="369"/>
              </a:spcBef>
              <a:buClr>
                <a:schemeClr val="tx2"/>
              </a:buClr>
              <a:buFont typeface="Symbol" pitchFamily="18" charset="2"/>
              <a:buChar char="-"/>
              <a:defRPr sz="1969" baseline="0">
                <a:latin typeface="+mn-lt"/>
              </a:defRPr>
            </a:lvl6pPr>
          </a:lstStyle>
          <a:p>
            <a:pPr lvl="0"/>
            <a:r>
              <a:rPr lang="ru-RU" dirty="0" smtClean="0"/>
              <a:t>Блок №1 для текста или диаграммы</a:t>
            </a:r>
            <a:endParaRPr lang="en-US" dirty="0" smtClean="0"/>
          </a:p>
          <a:p>
            <a:pPr lvl="1"/>
            <a:r>
              <a:rPr lang="ru-RU" dirty="0" smtClean="0"/>
              <a:t>Второй уровень</a:t>
            </a:r>
            <a:endParaRPr lang="en-US" dirty="0" smtClean="0"/>
          </a:p>
          <a:p>
            <a:pPr lvl="2"/>
            <a:r>
              <a:rPr lang="ru-RU" dirty="0" smtClean="0"/>
              <a:t>Третий уровень</a:t>
            </a:r>
            <a:endParaRPr lang="en-US" dirty="0" smtClean="0"/>
          </a:p>
        </p:txBody>
      </p:sp>
      <p:sp>
        <p:nvSpPr>
          <p:cNvPr id="16" name="Slide Number Placeholder 5"/>
          <p:cNvSpPr>
            <a:spLocks noGrp="1"/>
          </p:cNvSpPr>
          <p:nvPr>
            <p:ph type="sldNum" sz="quarter" idx="13"/>
          </p:nvPr>
        </p:nvSpPr>
        <p:spPr>
          <a:xfrm>
            <a:off x="-101599" y="6421818"/>
            <a:ext cx="667730" cy="414443"/>
          </a:xfrm>
          <a:prstGeom prst="rect">
            <a:avLst/>
          </a:prstGeom>
        </p:spPr>
        <p:txBody>
          <a:bodyPr lIns="46800" rIns="0" anchor="ctr" anchorCtr="0"/>
          <a:lstStyle>
            <a:lvl1pPr algn="r">
              <a:defRPr sz="1400" b="0">
                <a:solidFill>
                  <a:srgbClr val="EABF55"/>
                </a:solidFill>
                <a:latin typeface="Calibri"/>
                <a:cs typeface="Calibri"/>
              </a:defRPr>
            </a:lvl1pPr>
          </a:lstStyle>
          <a:p>
            <a:pPr>
              <a:defRPr/>
            </a:pPr>
            <a:fld id="{6113E31D-E2AB-40D1-8B51-AFA5AFEF393A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93512861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7413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ри симметричные колонк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Picture 2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24311" y="-1"/>
            <a:ext cx="9778321" cy="809201"/>
          </a:xfrm>
          <a:prstGeom prst="rect">
            <a:avLst/>
          </a:prstGeom>
        </p:spPr>
      </p:pic>
      <p:pic>
        <p:nvPicPr>
          <p:cNvPr id="26" name="Picture 25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8380" y="233246"/>
            <a:ext cx="2084666" cy="318017"/>
          </a:xfrm>
          <a:prstGeom prst="rect">
            <a:avLst/>
          </a:prstGeom>
        </p:spPr>
      </p:pic>
      <p:sp>
        <p:nvSpPr>
          <p:cNvPr id="39" name="Прямоугольник 7"/>
          <p:cNvSpPr/>
          <p:nvPr userDrawn="1"/>
        </p:nvSpPr>
        <p:spPr>
          <a:xfrm>
            <a:off x="10763006" y="0"/>
            <a:ext cx="1386213" cy="2817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11254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31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www.rosgeo.com</a:t>
            </a:r>
          </a:p>
        </p:txBody>
      </p:sp>
      <p:sp>
        <p:nvSpPr>
          <p:cNvPr id="41" name="Заголовок 1"/>
          <p:cNvSpPr>
            <a:spLocks noGrp="1"/>
          </p:cNvSpPr>
          <p:nvPr>
            <p:ph type="title"/>
          </p:nvPr>
        </p:nvSpPr>
        <p:spPr>
          <a:xfrm>
            <a:off x="3466341" y="204306"/>
            <a:ext cx="8240532" cy="527474"/>
          </a:xfrm>
          <a:prstGeom prst="rect">
            <a:avLst/>
          </a:prstGeom>
        </p:spPr>
        <p:txBody>
          <a:bodyPr lIns="0"/>
          <a:lstStyle>
            <a:lvl1pPr>
              <a:defRPr sz="2462" b="1" i="0">
                <a:solidFill>
                  <a:srgbClr val="FFFFFF"/>
                </a:solidFill>
                <a:latin typeface="Calibri"/>
                <a:cs typeface="Calibri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2" name="Content Placeholder 18"/>
          <p:cNvSpPr>
            <a:spLocks noGrp="1"/>
          </p:cNvSpPr>
          <p:nvPr>
            <p:ph sz="quarter" idx="24" hasCustomPrompt="1"/>
          </p:nvPr>
        </p:nvSpPr>
        <p:spPr>
          <a:xfrm>
            <a:off x="757545" y="6333121"/>
            <a:ext cx="5356399" cy="336442"/>
          </a:xfrm>
          <a:prstGeom prst="rect">
            <a:avLst/>
          </a:prstGeom>
        </p:spPr>
        <p:txBody>
          <a:bodyPr lIns="45720" tIns="45720" rIns="45720" bIns="45720" anchor="t"/>
          <a:lstStyle>
            <a:lvl1pPr marL="0" indent="0">
              <a:lnSpc>
                <a:spcPts val="985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None/>
              <a:defRPr lang="en-US" sz="985" baseline="0" dirty="0">
                <a:solidFill>
                  <a:schemeClr val="bg1">
                    <a:lumMod val="75000"/>
                  </a:schemeClr>
                </a:solidFill>
                <a:latin typeface="Calibri"/>
                <a:cs typeface="Calibri"/>
              </a:defRPr>
            </a:lvl1pPr>
            <a:lvl2pPr marL="247598" indent="0">
              <a:buClr>
                <a:schemeClr val="bg2"/>
              </a:buClr>
              <a:buNone/>
              <a:defRPr lang="en-US" sz="1723" dirty="0">
                <a:latin typeface="Calibri"/>
                <a:cs typeface="Calibri"/>
              </a:defRPr>
            </a:lvl2pPr>
            <a:lvl3pPr>
              <a:buClr>
                <a:schemeClr val="bg2"/>
              </a:buClr>
              <a:defRPr lang="en-US" sz="1477" dirty="0">
                <a:latin typeface="Calibri"/>
                <a:cs typeface="Calibri"/>
              </a:defRPr>
            </a:lvl3pPr>
            <a:lvl4pPr>
              <a:defRPr lang="ru-RU" sz="1969" dirty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lang="en-US" sz="1969" baseline="0" dirty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>
              <a:spcBef>
                <a:spcPts val="369"/>
              </a:spcBef>
              <a:buClr>
                <a:schemeClr val="tx2"/>
              </a:buClr>
            </a:pPr>
            <a:r>
              <a:rPr lang="ru-RU" dirty="0" smtClean="0"/>
              <a:t>Название презентации </a:t>
            </a:r>
          </a:p>
          <a:p>
            <a:pPr lvl="0">
              <a:spcBef>
                <a:spcPts val="369"/>
              </a:spcBef>
              <a:buClr>
                <a:schemeClr val="tx2"/>
              </a:buClr>
            </a:pPr>
            <a:r>
              <a:rPr lang="ru-RU" dirty="0" smtClean="0"/>
              <a:t>обязательно в две строки</a:t>
            </a:r>
            <a:endParaRPr lang="en-US" dirty="0"/>
          </a:p>
        </p:txBody>
      </p:sp>
      <p:sp>
        <p:nvSpPr>
          <p:cNvPr id="8" name="Content Placeholder 18"/>
          <p:cNvSpPr>
            <a:spLocks noGrp="1"/>
          </p:cNvSpPr>
          <p:nvPr>
            <p:ph sz="quarter" idx="12" hasCustomPrompt="1"/>
          </p:nvPr>
        </p:nvSpPr>
        <p:spPr>
          <a:xfrm>
            <a:off x="461032" y="1182842"/>
            <a:ext cx="11238156" cy="258224"/>
          </a:xfrm>
          <a:prstGeom prst="rect">
            <a:avLst/>
          </a:prstGeom>
        </p:spPr>
        <p:txBody>
          <a:bodyPr lIns="45720" tIns="45720" rIns="45720" bIns="45720"/>
          <a:lstStyle>
            <a:lvl1pPr>
              <a:spcBef>
                <a:spcPts val="369"/>
              </a:spcBef>
              <a:buClr>
                <a:schemeClr val="tx2"/>
              </a:buClr>
              <a:defRPr sz="1969" b="1">
                <a:solidFill>
                  <a:schemeClr val="tx1"/>
                </a:solidFill>
                <a:latin typeface="Calibri"/>
                <a:cs typeface="Calibri"/>
              </a:defRPr>
            </a:lvl1pPr>
            <a:lvl2pPr marL="472686" indent="-225089">
              <a:spcBef>
                <a:spcPts val="369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723">
                <a:solidFill>
                  <a:schemeClr val="tx1"/>
                </a:solidFill>
                <a:latin typeface="Calibri"/>
                <a:cs typeface="Calibri"/>
              </a:defRPr>
            </a:lvl2pPr>
            <a:lvl3pPr marL="697776" indent="-225089">
              <a:spcBef>
                <a:spcPts val="369"/>
              </a:spcBef>
              <a:buClr>
                <a:schemeClr val="bg2"/>
              </a:buClr>
              <a:buFont typeface="Arial" panose="020B0604020202020204" pitchFamily="34" charset="0"/>
              <a:buChar char="‒"/>
              <a:defRPr sz="1477">
                <a:solidFill>
                  <a:schemeClr val="tx1"/>
                </a:solidFill>
                <a:latin typeface="Calibri"/>
                <a:cs typeface="Calibri"/>
              </a:defRPr>
            </a:lvl3pPr>
            <a:lvl4pPr>
              <a:spcBef>
                <a:spcPts val="369"/>
              </a:spcBef>
              <a:buClr>
                <a:schemeClr val="tx2"/>
              </a:buClr>
              <a:defRPr sz="1969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477145" indent="-351701">
              <a:spcBef>
                <a:spcPts val="369"/>
              </a:spcBef>
              <a:buClr>
                <a:schemeClr val="tx2"/>
              </a:buClr>
              <a:buFont typeface="Arial" pitchFamily="34" charset="0"/>
              <a:buChar char="•"/>
              <a:defRPr sz="1969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1688165" indent="-273545">
              <a:spcBef>
                <a:spcPts val="369"/>
              </a:spcBef>
              <a:buClr>
                <a:schemeClr val="tx2"/>
              </a:buClr>
              <a:buFont typeface="Symbol" pitchFamily="18" charset="2"/>
              <a:buChar char="-"/>
              <a:defRPr sz="1969" baseline="0">
                <a:latin typeface="+mn-lt"/>
              </a:defRPr>
            </a:lvl6pPr>
          </a:lstStyle>
          <a:p>
            <a:pPr lvl="0"/>
            <a:r>
              <a:rPr lang="ru-RU" dirty="0" smtClean="0"/>
              <a:t>Заголовок</a:t>
            </a:r>
            <a:endParaRPr lang="en-US" dirty="0" smtClean="0"/>
          </a:p>
        </p:txBody>
      </p:sp>
      <p:sp>
        <p:nvSpPr>
          <p:cNvPr id="9" name="Content Placeholder 18"/>
          <p:cNvSpPr>
            <a:spLocks noGrp="1"/>
          </p:cNvSpPr>
          <p:nvPr>
            <p:ph sz="quarter" idx="25" hasCustomPrompt="1"/>
          </p:nvPr>
        </p:nvSpPr>
        <p:spPr>
          <a:xfrm>
            <a:off x="461437" y="1458532"/>
            <a:ext cx="11249415" cy="258224"/>
          </a:xfrm>
          <a:prstGeom prst="rect">
            <a:avLst/>
          </a:prstGeom>
        </p:spPr>
        <p:txBody>
          <a:bodyPr lIns="45720" tIns="45720" rIns="45720" bIns="45720"/>
          <a:lstStyle>
            <a:lvl1pPr>
              <a:spcBef>
                <a:spcPts val="369"/>
              </a:spcBef>
              <a:buClr>
                <a:schemeClr val="tx2"/>
              </a:buClr>
              <a:defRPr sz="1723" b="0">
                <a:solidFill>
                  <a:schemeClr val="tx1"/>
                </a:solidFill>
                <a:latin typeface="Calibri"/>
                <a:cs typeface="Calibri"/>
              </a:defRPr>
            </a:lvl1pPr>
            <a:lvl2pPr marL="472686" indent="-225089">
              <a:spcBef>
                <a:spcPts val="369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723">
                <a:solidFill>
                  <a:schemeClr val="tx1"/>
                </a:solidFill>
                <a:latin typeface="Calibri"/>
                <a:cs typeface="Calibri"/>
              </a:defRPr>
            </a:lvl2pPr>
            <a:lvl3pPr marL="697776" indent="-225089">
              <a:spcBef>
                <a:spcPts val="369"/>
              </a:spcBef>
              <a:buClr>
                <a:schemeClr val="bg2"/>
              </a:buClr>
              <a:buFont typeface="Arial" panose="020B0604020202020204" pitchFamily="34" charset="0"/>
              <a:buChar char="‒"/>
              <a:defRPr sz="1477">
                <a:solidFill>
                  <a:schemeClr val="tx1"/>
                </a:solidFill>
                <a:latin typeface="Calibri"/>
                <a:cs typeface="Calibri"/>
              </a:defRPr>
            </a:lvl3pPr>
            <a:lvl4pPr>
              <a:spcBef>
                <a:spcPts val="369"/>
              </a:spcBef>
              <a:buClr>
                <a:schemeClr val="tx2"/>
              </a:buClr>
              <a:defRPr sz="1969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477145" indent="-351701">
              <a:spcBef>
                <a:spcPts val="369"/>
              </a:spcBef>
              <a:buClr>
                <a:schemeClr val="tx2"/>
              </a:buClr>
              <a:buFont typeface="Arial" pitchFamily="34" charset="0"/>
              <a:buChar char="•"/>
              <a:defRPr sz="1969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1688165" indent="-273545">
              <a:spcBef>
                <a:spcPts val="369"/>
              </a:spcBef>
              <a:buClr>
                <a:schemeClr val="tx2"/>
              </a:buClr>
              <a:buFont typeface="Symbol" pitchFamily="18" charset="2"/>
              <a:buChar char="-"/>
              <a:defRPr sz="1969" baseline="0">
                <a:latin typeface="+mn-lt"/>
              </a:defRPr>
            </a:lvl6pPr>
          </a:lstStyle>
          <a:p>
            <a:pPr lvl="0"/>
            <a:r>
              <a:rPr lang="ru-RU" dirty="0" smtClean="0"/>
              <a:t>Подзаголовок</a:t>
            </a:r>
            <a:endParaRPr lang="en-US" dirty="0" smtClean="0"/>
          </a:p>
        </p:txBody>
      </p:sp>
      <p:sp>
        <p:nvSpPr>
          <p:cNvPr id="10" name="Текст 3"/>
          <p:cNvSpPr>
            <a:spLocks noGrp="1"/>
          </p:cNvSpPr>
          <p:nvPr>
            <p:ph type="body" sz="half" idx="2" hasCustomPrompt="1"/>
          </p:nvPr>
        </p:nvSpPr>
        <p:spPr>
          <a:xfrm>
            <a:off x="454903" y="5901790"/>
            <a:ext cx="11255951" cy="343740"/>
          </a:xfrm>
          <a:prstGeom prst="rect">
            <a:avLst/>
          </a:prstGeom>
        </p:spPr>
        <p:txBody>
          <a:bodyPr lIns="0" rIns="0" bIns="0">
            <a:normAutofit/>
          </a:bodyPr>
          <a:lstStyle>
            <a:lvl1pPr marL="0" indent="-2082514">
              <a:spcBef>
                <a:spcPts val="0"/>
              </a:spcBef>
              <a:spcAft>
                <a:spcPts val="0"/>
              </a:spcAft>
              <a:buNone/>
              <a:defRPr sz="1231" baseline="0">
                <a:solidFill>
                  <a:schemeClr val="bg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562722" indent="0">
              <a:buNone/>
              <a:defRPr sz="1723"/>
            </a:lvl2pPr>
            <a:lvl3pPr marL="1125444" indent="0">
              <a:buNone/>
              <a:defRPr sz="1477"/>
            </a:lvl3pPr>
            <a:lvl4pPr marL="1688165" indent="0">
              <a:buNone/>
              <a:defRPr sz="1231"/>
            </a:lvl4pPr>
            <a:lvl5pPr marL="2250887" indent="0">
              <a:buNone/>
              <a:defRPr sz="1231"/>
            </a:lvl5pPr>
            <a:lvl6pPr marL="2813609" indent="0">
              <a:buNone/>
              <a:defRPr sz="1231"/>
            </a:lvl6pPr>
            <a:lvl7pPr marL="3376331" indent="0">
              <a:buNone/>
              <a:defRPr sz="1231"/>
            </a:lvl7pPr>
            <a:lvl8pPr marL="3939052" indent="0">
              <a:buNone/>
              <a:defRPr sz="1231"/>
            </a:lvl8pPr>
            <a:lvl9pPr marL="4501774" indent="0">
              <a:buNone/>
              <a:defRPr sz="1231"/>
            </a:lvl9pPr>
          </a:lstStyle>
          <a:p>
            <a:pPr lvl="0"/>
            <a:r>
              <a:rPr lang="ru-RU" dirty="0" smtClean="0"/>
              <a:t>Источники: Введите </a:t>
            </a:r>
            <a:r>
              <a:rPr lang="en-US" dirty="0" smtClean="0"/>
              <a:t>Tab</a:t>
            </a:r>
            <a:r>
              <a:rPr lang="ru-RU" dirty="0" smtClean="0"/>
              <a:t> → </a:t>
            </a:r>
            <a:r>
              <a:rPr lang="en-US" dirty="0" smtClean="0"/>
              <a:t>“</a:t>
            </a:r>
            <a:r>
              <a:rPr lang="ru-RU" dirty="0" smtClean="0"/>
              <a:t>Источники</a:t>
            </a:r>
            <a:r>
              <a:rPr lang="en-US" dirty="0" smtClean="0"/>
              <a:t>:”</a:t>
            </a:r>
            <a:r>
              <a:rPr lang="ru-RU" dirty="0" smtClean="0"/>
              <a:t>, затем </a:t>
            </a:r>
            <a:r>
              <a:rPr lang="en-US" dirty="0" smtClean="0"/>
              <a:t>Tab</a:t>
            </a:r>
            <a:r>
              <a:rPr lang="ru-RU" dirty="0" smtClean="0"/>
              <a:t> → Укажите источник. Разделяйте несколько источников точкой с запятой</a:t>
            </a:r>
            <a:r>
              <a:rPr lang="en-US" dirty="0" smtClean="0"/>
              <a:t> (;</a:t>
            </a:r>
            <a:endParaRPr lang="ru-RU" dirty="0" smtClean="0"/>
          </a:p>
        </p:txBody>
      </p:sp>
      <p:sp>
        <p:nvSpPr>
          <p:cNvPr id="11" name="Content Placeholder 18"/>
          <p:cNvSpPr>
            <a:spLocks noGrp="1"/>
          </p:cNvSpPr>
          <p:nvPr>
            <p:ph sz="quarter" idx="11" hasCustomPrompt="1"/>
          </p:nvPr>
        </p:nvSpPr>
        <p:spPr>
          <a:xfrm>
            <a:off x="454905" y="1914411"/>
            <a:ext cx="3580907" cy="3790914"/>
          </a:xfrm>
          <a:prstGeom prst="rect">
            <a:avLst/>
          </a:prstGeom>
        </p:spPr>
        <p:txBody>
          <a:bodyPr lIns="45720" tIns="45720" rIns="45720" bIns="45720"/>
          <a:lstStyle>
            <a:lvl1pPr>
              <a:spcBef>
                <a:spcPts val="0"/>
              </a:spcBef>
              <a:buClr>
                <a:schemeClr val="tx2"/>
              </a:buClr>
              <a:defRPr sz="1969">
                <a:solidFill>
                  <a:schemeClr val="tx1"/>
                </a:solidFill>
                <a:latin typeface="Calibri"/>
                <a:cs typeface="Calibri"/>
              </a:defRPr>
            </a:lvl1pPr>
            <a:lvl2pPr marL="472686" indent="-225089"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723">
                <a:solidFill>
                  <a:schemeClr val="tx1"/>
                </a:solidFill>
                <a:latin typeface="Calibri"/>
                <a:cs typeface="Calibri"/>
              </a:defRPr>
            </a:lvl2pPr>
            <a:lvl3pPr marL="697776" indent="-225089">
              <a:spcBef>
                <a:spcPts val="0"/>
              </a:spcBef>
              <a:buClr>
                <a:schemeClr val="bg2"/>
              </a:buClr>
              <a:buFont typeface="Arial" panose="020B0604020202020204" pitchFamily="34" charset="0"/>
              <a:buChar char="‒"/>
              <a:defRPr sz="1477">
                <a:solidFill>
                  <a:schemeClr val="tx1"/>
                </a:solidFill>
                <a:latin typeface="Calibri"/>
                <a:cs typeface="Calibri"/>
              </a:defRPr>
            </a:lvl3pPr>
            <a:lvl4pPr>
              <a:spcBef>
                <a:spcPts val="369"/>
              </a:spcBef>
              <a:buClr>
                <a:schemeClr val="tx2"/>
              </a:buClr>
              <a:defRPr sz="1969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477145" indent="-351701">
              <a:spcBef>
                <a:spcPts val="369"/>
              </a:spcBef>
              <a:buClr>
                <a:schemeClr val="tx2"/>
              </a:buClr>
              <a:buFont typeface="Arial" pitchFamily="34" charset="0"/>
              <a:buChar char="•"/>
              <a:defRPr sz="1969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1688165" indent="-273545">
              <a:spcBef>
                <a:spcPts val="369"/>
              </a:spcBef>
              <a:buClr>
                <a:schemeClr val="tx2"/>
              </a:buClr>
              <a:buFont typeface="Symbol" pitchFamily="18" charset="2"/>
              <a:buChar char="-"/>
              <a:defRPr sz="1969" baseline="0">
                <a:latin typeface="+mn-lt"/>
              </a:defRPr>
            </a:lvl6pPr>
          </a:lstStyle>
          <a:p>
            <a:pPr lvl="0"/>
            <a:r>
              <a:rPr lang="ru-RU" dirty="0" smtClean="0"/>
              <a:t>Блок №1 для текста или диаграммы</a:t>
            </a:r>
            <a:endParaRPr lang="en-US" dirty="0" smtClean="0"/>
          </a:p>
          <a:p>
            <a:pPr lvl="1"/>
            <a:r>
              <a:rPr lang="ru-RU" dirty="0" smtClean="0"/>
              <a:t>Второй уровень</a:t>
            </a:r>
            <a:endParaRPr lang="en-US" dirty="0" smtClean="0"/>
          </a:p>
          <a:p>
            <a:pPr lvl="2"/>
            <a:r>
              <a:rPr lang="ru-RU" dirty="0" smtClean="0"/>
              <a:t>Третий уровень</a:t>
            </a:r>
            <a:endParaRPr lang="en-US" dirty="0" smtClean="0"/>
          </a:p>
        </p:txBody>
      </p:sp>
      <p:sp>
        <p:nvSpPr>
          <p:cNvPr id="13" name="Content Placeholder 18"/>
          <p:cNvSpPr>
            <a:spLocks noGrp="1"/>
          </p:cNvSpPr>
          <p:nvPr>
            <p:ph sz="quarter" idx="26" hasCustomPrompt="1"/>
          </p:nvPr>
        </p:nvSpPr>
        <p:spPr>
          <a:xfrm>
            <a:off x="4305033" y="1924651"/>
            <a:ext cx="3579964" cy="3790914"/>
          </a:xfrm>
          <a:prstGeom prst="rect">
            <a:avLst/>
          </a:prstGeom>
        </p:spPr>
        <p:txBody>
          <a:bodyPr lIns="45720" tIns="45720" rIns="45720" bIns="45720"/>
          <a:lstStyle>
            <a:lvl1pPr>
              <a:spcBef>
                <a:spcPts val="0"/>
              </a:spcBef>
              <a:buClr>
                <a:schemeClr val="tx2"/>
              </a:buClr>
              <a:defRPr sz="1969">
                <a:solidFill>
                  <a:schemeClr val="tx1"/>
                </a:solidFill>
                <a:latin typeface="Calibri"/>
                <a:cs typeface="Calibri"/>
              </a:defRPr>
            </a:lvl1pPr>
            <a:lvl2pPr marL="472686" indent="-225089"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723">
                <a:solidFill>
                  <a:schemeClr val="tx1"/>
                </a:solidFill>
                <a:latin typeface="Calibri"/>
                <a:cs typeface="Calibri"/>
              </a:defRPr>
            </a:lvl2pPr>
            <a:lvl3pPr marL="697776" indent="-225089">
              <a:spcBef>
                <a:spcPts val="0"/>
              </a:spcBef>
              <a:buClr>
                <a:schemeClr val="bg2"/>
              </a:buClr>
              <a:buFont typeface="Arial" panose="020B0604020202020204" pitchFamily="34" charset="0"/>
              <a:buChar char="‒"/>
              <a:defRPr sz="1477">
                <a:solidFill>
                  <a:schemeClr val="tx1"/>
                </a:solidFill>
                <a:latin typeface="Calibri"/>
                <a:cs typeface="Calibri"/>
              </a:defRPr>
            </a:lvl3pPr>
            <a:lvl4pPr>
              <a:spcBef>
                <a:spcPts val="369"/>
              </a:spcBef>
              <a:buClr>
                <a:schemeClr val="tx2"/>
              </a:buClr>
              <a:defRPr sz="1969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477145" indent="-351701">
              <a:spcBef>
                <a:spcPts val="369"/>
              </a:spcBef>
              <a:buClr>
                <a:schemeClr val="tx2"/>
              </a:buClr>
              <a:buFont typeface="Arial" pitchFamily="34" charset="0"/>
              <a:buChar char="•"/>
              <a:defRPr sz="1969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1688165" indent="-273545">
              <a:spcBef>
                <a:spcPts val="369"/>
              </a:spcBef>
              <a:buClr>
                <a:schemeClr val="tx2"/>
              </a:buClr>
              <a:buFont typeface="Symbol" pitchFamily="18" charset="2"/>
              <a:buChar char="-"/>
              <a:defRPr sz="1969" baseline="0">
                <a:latin typeface="+mn-lt"/>
              </a:defRPr>
            </a:lvl6pPr>
          </a:lstStyle>
          <a:p>
            <a:pPr lvl="0"/>
            <a:r>
              <a:rPr lang="ru-RU" dirty="0" smtClean="0"/>
              <a:t>Блок №1 для текста или диаграммы</a:t>
            </a:r>
            <a:endParaRPr lang="en-US" dirty="0" smtClean="0"/>
          </a:p>
          <a:p>
            <a:pPr lvl="1"/>
            <a:r>
              <a:rPr lang="ru-RU" dirty="0" smtClean="0"/>
              <a:t>Второй уровень</a:t>
            </a:r>
            <a:endParaRPr lang="en-US" dirty="0" smtClean="0"/>
          </a:p>
          <a:p>
            <a:pPr lvl="2"/>
            <a:r>
              <a:rPr lang="ru-RU" dirty="0" smtClean="0"/>
              <a:t>Третий уровень</a:t>
            </a:r>
            <a:endParaRPr lang="en-US" dirty="0" smtClean="0"/>
          </a:p>
        </p:txBody>
      </p:sp>
      <p:sp>
        <p:nvSpPr>
          <p:cNvPr id="14" name="Content Placeholder 18"/>
          <p:cNvSpPr>
            <a:spLocks noGrp="1"/>
          </p:cNvSpPr>
          <p:nvPr>
            <p:ph sz="quarter" idx="27" hasCustomPrompt="1"/>
          </p:nvPr>
        </p:nvSpPr>
        <p:spPr>
          <a:xfrm>
            <a:off x="8129945" y="1915174"/>
            <a:ext cx="3570187" cy="3790914"/>
          </a:xfrm>
          <a:prstGeom prst="rect">
            <a:avLst/>
          </a:prstGeom>
        </p:spPr>
        <p:txBody>
          <a:bodyPr lIns="45720" tIns="45720" rIns="45720" bIns="45720"/>
          <a:lstStyle>
            <a:lvl1pPr>
              <a:spcBef>
                <a:spcPts val="0"/>
              </a:spcBef>
              <a:buClr>
                <a:schemeClr val="tx2"/>
              </a:buClr>
              <a:defRPr sz="1969">
                <a:solidFill>
                  <a:schemeClr val="tx1"/>
                </a:solidFill>
                <a:latin typeface="Calibri"/>
                <a:cs typeface="Calibri"/>
              </a:defRPr>
            </a:lvl1pPr>
            <a:lvl2pPr marL="472686" indent="-225089"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723">
                <a:solidFill>
                  <a:schemeClr val="tx1"/>
                </a:solidFill>
                <a:latin typeface="Calibri"/>
                <a:cs typeface="Calibri"/>
              </a:defRPr>
            </a:lvl2pPr>
            <a:lvl3pPr marL="697776" indent="-225089">
              <a:spcBef>
                <a:spcPts val="0"/>
              </a:spcBef>
              <a:buClr>
                <a:schemeClr val="bg2"/>
              </a:buClr>
              <a:buFont typeface="Arial" panose="020B0604020202020204" pitchFamily="34" charset="0"/>
              <a:buChar char="‒"/>
              <a:defRPr sz="1477">
                <a:solidFill>
                  <a:schemeClr val="tx1"/>
                </a:solidFill>
                <a:latin typeface="Calibri"/>
                <a:cs typeface="Calibri"/>
              </a:defRPr>
            </a:lvl3pPr>
            <a:lvl4pPr>
              <a:spcBef>
                <a:spcPts val="369"/>
              </a:spcBef>
              <a:buClr>
                <a:schemeClr val="tx2"/>
              </a:buClr>
              <a:defRPr sz="1969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477145" indent="-351701">
              <a:spcBef>
                <a:spcPts val="369"/>
              </a:spcBef>
              <a:buClr>
                <a:schemeClr val="tx2"/>
              </a:buClr>
              <a:buFont typeface="Arial" pitchFamily="34" charset="0"/>
              <a:buChar char="•"/>
              <a:defRPr sz="1969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1688165" indent="-273545">
              <a:spcBef>
                <a:spcPts val="369"/>
              </a:spcBef>
              <a:buClr>
                <a:schemeClr val="tx2"/>
              </a:buClr>
              <a:buFont typeface="Symbol" pitchFamily="18" charset="2"/>
              <a:buChar char="-"/>
              <a:defRPr sz="1969" baseline="0">
                <a:latin typeface="+mn-lt"/>
              </a:defRPr>
            </a:lvl6pPr>
          </a:lstStyle>
          <a:p>
            <a:pPr lvl="0"/>
            <a:r>
              <a:rPr lang="ru-RU" dirty="0" smtClean="0"/>
              <a:t>Блок №1 для текста или диаграммы</a:t>
            </a:r>
            <a:endParaRPr lang="en-US" dirty="0" smtClean="0"/>
          </a:p>
          <a:p>
            <a:pPr lvl="1"/>
            <a:r>
              <a:rPr lang="ru-RU" dirty="0" smtClean="0"/>
              <a:t>Второй уровень</a:t>
            </a:r>
            <a:endParaRPr lang="en-US" dirty="0" smtClean="0"/>
          </a:p>
          <a:p>
            <a:pPr lvl="2"/>
            <a:r>
              <a:rPr lang="ru-RU" dirty="0" smtClean="0"/>
              <a:t>Третий уровень</a:t>
            </a:r>
            <a:endParaRPr lang="en-US" dirty="0" smtClean="0"/>
          </a:p>
        </p:txBody>
      </p:sp>
      <p:sp>
        <p:nvSpPr>
          <p:cNvPr id="15" name="Slide Number Placeholder 5"/>
          <p:cNvSpPr>
            <a:spLocks noGrp="1"/>
          </p:cNvSpPr>
          <p:nvPr>
            <p:ph type="sldNum" sz="quarter" idx="13"/>
          </p:nvPr>
        </p:nvSpPr>
        <p:spPr>
          <a:xfrm>
            <a:off x="-101599" y="6421818"/>
            <a:ext cx="667730" cy="414443"/>
          </a:xfrm>
          <a:prstGeom prst="rect">
            <a:avLst/>
          </a:prstGeom>
        </p:spPr>
        <p:txBody>
          <a:bodyPr lIns="46800" rIns="0" anchor="ctr" anchorCtr="0"/>
          <a:lstStyle>
            <a:lvl1pPr algn="r">
              <a:defRPr sz="1400" b="0">
                <a:solidFill>
                  <a:srgbClr val="EABF55"/>
                </a:solidFill>
                <a:latin typeface="Calibri"/>
                <a:cs typeface="Calibri"/>
              </a:defRPr>
            </a:lvl1pPr>
          </a:lstStyle>
          <a:p>
            <a:pPr>
              <a:defRPr/>
            </a:pPr>
            <a:fld id="{6113E31D-E2AB-40D1-8B51-AFA5AFEF393A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32518870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7413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ри ассиметричные колонк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Picture 2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24311" y="-1"/>
            <a:ext cx="9778321" cy="809201"/>
          </a:xfrm>
          <a:prstGeom prst="rect">
            <a:avLst/>
          </a:prstGeom>
        </p:spPr>
      </p:pic>
      <p:pic>
        <p:nvPicPr>
          <p:cNvPr id="22" name="Picture 21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8380" y="233246"/>
            <a:ext cx="2084666" cy="318017"/>
          </a:xfrm>
          <a:prstGeom prst="rect">
            <a:avLst/>
          </a:prstGeom>
        </p:spPr>
      </p:pic>
      <p:sp>
        <p:nvSpPr>
          <p:cNvPr id="33" name="Прямоугольник 7"/>
          <p:cNvSpPr/>
          <p:nvPr userDrawn="1"/>
        </p:nvSpPr>
        <p:spPr>
          <a:xfrm>
            <a:off x="10763006" y="0"/>
            <a:ext cx="1386213" cy="2817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11254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31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www.rosgeo.com</a:t>
            </a:r>
          </a:p>
        </p:txBody>
      </p:sp>
      <p:sp>
        <p:nvSpPr>
          <p:cNvPr id="35" name="Заголовок 1"/>
          <p:cNvSpPr>
            <a:spLocks noGrp="1"/>
          </p:cNvSpPr>
          <p:nvPr>
            <p:ph type="title"/>
          </p:nvPr>
        </p:nvSpPr>
        <p:spPr>
          <a:xfrm>
            <a:off x="3466341" y="204306"/>
            <a:ext cx="8240532" cy="527474"/>
          </a:xfrm>
          <a:prstGeom prst="rect">
            <a:avLst/>
          </a:prstGeom>
        </p:spPr>
        <p:txBody>
          <a:bodyPr lIns="0"/>
          <a:lstStyle>
            <a:lvl1pPr>
              <a:defRPr sz="2462" b="1" i="0">
                <a:solidFill>
                  <a:srgbClr val="FFFFFF"/>
                </a:solidFill>
                <a:latin typeface="Calibri"/>
                <a:cs typeface="Calibri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6" name="Content Placeholder 18"/>
          <p:cNvSpPr>
            <a:spLocks noGrp="1"/>
          </p:cNvSpPr>
          <p:nvPr>
            <p:ph sz="quarter" idx="26" hasCustomPrompt="1"/>
          </p:nvPr>
        </p:nvSpPr>
        <p:spPr>
          <a:xfrm>
            <a:off x="757545" y="6333121"/>
            <a:ext cx="5356399" cy="336442"/>
          </a:xfrm>
          <a:prstGeom prst="rect">
            <a:avLst/>
          </a:prstGeom>
        </p:spPr>
        <p:txBody>
          <a:bodyPr lIns="45720" tIns="45720" rIns="45720" bIns="45720" anchor="t"/>
          <a:lstStyle>
            <a:lvl1pPr marL="0" indent="0">
              <a:lnSpc>
                <a:spcPts val="985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None/>
              <a:defRPr lang="en-US" sz="985" baseline="0" dirty="0">
                <a:solidFill>
                  <a:schemeClr val="bg1">
                    <a:lumMod val="75000"/>
                  </a:schemeClr>
                </a:solidFill>
                <a:latin typeface="Calibri"/>
                <a:cs typeface="Calibri"/>
              </a:defRPr>
            </a:lvl1pPr>
            <a:lvl2pPr marL="247598" indent="0">
              <a:buClr>
                <a:schemeClr val="bg2"/>
              </a:buClr>
              <a:buNone/>
              <a:defRPr lang="en-US" sz="1723" dirty="0">
                <a:latin typeface="Calibri"/>
                <a:cs typeface="Calibri"/>
              </a:defRPr>
            </a:lvl2pPr>
            <a:lvl3pPr>
              <a:buClr>
                <a:schemeClr val="bg2"/>
              </a:buClr>
              <a:defRPr lang="en-US" sz="1477" dirty="0">
                <a:latin typeface="Calibri"/>
                <a:cs typeface="Calibri"/>
              </a:defRPr>
            </a:lvl3pPr>
            <a:lvl4pPr>
              <a:defRPr lang="ru-RU" sz="1969" dirty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lang="en-US" sz="1969" baseline="0" dirty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>
              <a:spcBef>
                <a:spcPts val="369"/>
              </a:spcBef>
              <a:buClr>
                <a:schemeClr val="tx2"/>
              </a:buClr>
            </a:pPr>
            <a:r>
              <a:rPr lang="ru-RU" dirty="0" smtClean="0"/>
              <a:t>Название презентации </a:t>
            </a:r>
          </a:p>
          <a:p>
            <a:pPr lvl="0">
              <a:spcBef>
                <a:spcPts val="369"/>
              </a:spcBef>
              <a:buClr>
                <a:schemeClr val="tx2"/>
              </a:buClr>
            </a:pPr>
            <a:r>
              <a:rPr lang="ru-RU" dirty="0" smtClean="0"/>
              <a:t>обязательно в две строки</a:t>
            </a:r>
            <a:endParaRPr lang="en-US" dirty="0"/>
          </a:p>
        </p:txBody>
      </p:sp>
      <p:sp>
        <p:nvSpPr>
          <p:cNvPr id="8" name="Content Placeholder 18"/>
          <p:cNvSpPr>
            <a:spLocks noGrp="1"/>
          </p:cNvSpPr>
          <p:nvPr>
            <p:ph sz="quarter" idx="12" hasCustomPrompt="1"/>
          </p:nvPr>
        </p:nvSpPr>
        <p:spPr>
          <a:xfrm>
            <a:off x="461032" y="1182842"/>
            <a:ext cx="11238156" cy="258224"/>
          </a:xfrm>
          <a:prstGeom prst="rect">
            <a:avLst/>
          </a:prstGeom>
        </p:spPr>
        <p:txBody>
          <a:bodyPr lIns="45720" tIns="45720" rIns="45720" bIns="45720"/>
          <a:lstStyle>
            <a:lvl1pPr>
              <a:spcBef>
                <a:spcPts val="369"/>
              </a:spcBef>
              <a:buClr>
                <a:schemeClr val="tx2"/>
              </a:buClr>
              <a:defRPr sz="1969" b="1">
                <a:solidFill>
                  <a:schemeClr val="tx1"/>
                </a:solidFill>
                <a:latin typeface="Calibri"/>
                <a:cs typeface="Calibri"/>
              </a:defRPr>
            </a:lvl1pPr>
            <a:lvl2pPr marL="472686" indent="-225089">
              <a:spcBef>
                <a:spcPts val="369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723">
                <a:solidFill>
                  <a:schemeClr val="tx1"/>
                </a:solidFill>
                <a:latin typeface="Calibri"/>
                <a:cs typeface="Calibri"/>
              </a:defRPr>
            </a:lvl2pPr>
            <a:lvl3pPr marL="697776" indent="-225089">
              <a:spcBef>
                <a:spcPts val="369"/>
              </a:spcBef>
              <a:buClr>
                <a:schemeClr val="bg2"/>
              </a:buClr>
              <a:buFont typeface="Arial" panose="020B0604020202020204" pitchFamily="34" charset="0"/>
              <a:buChar char="‒"/>
              <a:defRPr sz="1477">
                <a:solidFill>
                  <a:schemeClr val="tx1"/>
                </a:solidFill>
                <a:latin typeface="Calibri"/>
                <a:cs typeface="Calibri"/>
              </a:defRPr>
            </a:lvl3pPr>
            <a:lvl4pPr>
              <a:spcBef>
                <a:spcPts val="369"/>
              </a:spcBef>
              <a:buClr>
                <a:schemeClr val="tx2"/>
              </a:buClr>
              <a:defRPr sz="1969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477145" indent="-351701">
              <a:spcBef>
                <a:spcPts val="369"/>
              </a:spcBef>
              <a:buClr>
                <a:schemeClr val="tx2"/>
              </a:buClr>
              <a:buFont typeface="Arial" pitchFamily="34" charset="0"/>
              <a:buChar char="•"/>
              <a:defRPr sz="1969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1688165" indent="-273545">
              <a:spcBef>
                <a:spcPts val="369"/>
              </a:spcBef>
              <a:buClr>
                <a:schemeClr val="tx2"/>
              </a:buClr>
              <a:buFont typeface="Symbol" pitchFamily="18" charset="2"/>
              <a:buChar char="-"/>
              <a:defRPr sz="1969" baseline="0">
                <a:latin typeface="+mn-lt"/>
              </a:defRPr>
            </a:lvl6pPr>
          </a:lstStyle>
          <a:p>
            <a:pPr lvl="0"/>
            <a:r>
              <a:rPr lang="ru-RU" dirty="0" smtClean="0"/>
              <a:t>Заголовок</a:t>
            </a:r>
            <a:endParaRPr lang="en-US" dirty="0" smtClean="0"/>
          </a:p>
        </p:txBody>
      </p:sp>
      <p:sp>
        <p:nvSpPr>
          <p:cNvPr id="9" name="Content Placeholder 18"/>
          <p:cNvSpPr>
            <a:spLocks noGrp="1"/>
          </p:cNvSpPr>
          <p:nvPr>
            <p:ph sz="quarter" idx="24" hasCustomPrompt="1"/>
          </p:nvPr>
        </p:nvSpPr>
        <p:spPr>
          <a:xfrm>
            <a:off x="461437" y="1458532"/>
            <a:ext cx="11249415" cy="258224"/>
          </a:xfrm>
          <a:prstGeom prst="rect">
            <a:avLst/>
          </a:prstGeom>
        </p:spPr>
        <p:txBody>
          <a:bodyPr lIns="45720" tIns="45720" rIns="45720" bIns="45720"/>
          <a:lstStyle>
            <a:lvl1pPr>
              <a:spcBef>
                <a:spcPts val="369"/>
              </a:spcBef>
              <a:buClr>
                <a:schemeClr val="tx2"/>
              </a:buClr>
              <a:defRPr sz="1723" b="0">
                <a:solidFill>
                  <a:schemeClr val="tx1"/>
                </a:solidFill>
                <a:latin typeface="Calibri"/>
                <a:cs typeface="Calibri"/>
              </a:defRPr>
            </a:lvl1pPr>
            <a:lvl2pPr marL="472686" indent="-225089">
              <a:spcBef>
                <a:spcPts val="369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723">
                <a:solidFill>
                  <a:schemeClr val="tx1"/>
                </a:solidFill>
                <a:latin typeface="Calibri"/>
                <a:cs typeface="Calibri"/>
              </a:defRPr>
            </a:lvl2pPr>
            <a:lvl3pPr marL="697776" indent="-225089">
              <a:spcBef>
                <a:spcPts val="369"/>
              </a:spcBef>
              <a:buClr>
                <a:schemeClr val="bg2"/>
              </a:buClr>
              <a:buFont typeface="Arial" panose="020B0604020202020204" pitchFamily="34" charset="0"/>
              <a:buChar char="‒"/>
              <a:defRPr sz="1477">
                <a:solidFill>
                  <a:schemeClr val="tx1"/>
                </a:solidFill>
                <a:latin typeface="Calibri"/>
                <a:cs typeface="Calibri"/>
              </a:defRPr>
            </a:lvl3pPr>
            <a:lvl4pPr>
              <a:spcBef>
                <a:spcPts val="369"/>
              </a:spcBef>
              <a:buClr>
                <a:schemeClr val="tx2"/>
              </a:buClr>
              <a:defRPr sz="1969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477145" indent="-351701">
              <a:spcBef>
                <a:spcPts val="369"/>
              </a:spcBef>
              <a:buClr>
                <a:schemeClr val="tx2"/>
              </a:buClr>
              <a:buFont typeface="Arial" pitchFamily="34" charset="0"/>
              <a:buChar char="•"/>
              <a:defRPr sz="1969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1688165" indent="-273545">
              <a:spcBef>
                <a:spcPts val="369"/>
              </a:spcBef>
              <a:buClr>
                <a:schemeClr val="tx2"/>
              </a:buClr>
              <a:buFont typeface="Symbol" pitchFamily="18" charset="2"/>
              <a:buChar char="-"/>
              <a:defRPr sz="1969" baseline="0">
                <a:latin typeface="+mn-lt"/>
              </a:defRPr>
            </a:lvl6pPr>
          </a:lstStyle>
          <a:p>
            <a:pPr lvl="0"/>
            <a:r>
              <a:rPr lang="ru-RU" dirty="0" smtClean="0"/>
              <a:t>Подзаголовок</a:t>
            </a:r>
            <a:endParaRPr lang="en-US" dirty="0" smtClean="0"/>
          </a:p>
        </p:txBody>
      </p:sp>
      <p:sp>
        <p:nvSpPr>
          <p:cNvPr id="10" name="Текст 3"/>
          <p:cNvSpPr>
            <a:spLocks noGrp="1"/>
          </p:cNvSpPr>
          <p:nvPr>
            <p:ph type="body" sz="half" idx="2" hasCustomPrompt="1"/>
          </p:nvPr>
        </p:nvSpPr>
        <p:spPr>
          <a:xfrm>
            <a:off x="454903" y="5901790"/>
            <a:ext cx="11255951" cy="343740"/>
          </a:xfrm>
          <a:prstGeom prst="rect">
            <a:avLst/>
          </a:prstGeom>
        </p:spPr>
        <p:txBody>
          <a:bodyPr lIns="0" rIns="0" bIns="0">
            <a:normAutofit/>
          </a:bodyPr>
          <a:lstStyle>
            <a:lvl1pPr marL="0" indent="-2082514">
              <a:spcBef>
                <a:spcPts val="0"/>
              </a:spcBef>
              <a:spcAft>
                <a:spcPts val="0"/>
              </a:spcAft>
              <a:buNone/>
              <a:defRPr sz="1231" baseline="0">
                <a:solidFill>
                  <a:schemeClr val="bg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562722" indent="0">
              <a:buNone/>
              <a:defRPr sz="1723"/>
            </a:lvl2pPr>
            <a:lvl3pPr marL="1125444" indent="0">
              <a:buNone/>
              <a:defRPr sz="1477"/>
            </a:lvl3pPr>
            <a:lvl4pPr marL="1688165" indent="0">
              <a:buNone/>
              <a:defRPr sz="1231"/>
            </a:lvl4pPr>
            <a:lvl5pPr marL="2250887" indent="0">
              <a:buNone/>
              <a:defRPr sz="1231"/>
            </a:lvl5pPr>
            <a:lvl6pPr marL="2813609" indent="0">
              <a:buNone/>
              <a:defRPr sz="1231"/>
            </a:lvl6pPr>
            <a:lvl7pPr marL="3376331" indent="0">
              <a:buNone/>
              <a:defRPr sz="1231"/>
            </a:lvl7pPr>
            <a:lvl8pPr marL="3939052" indent="0">
              <a:buNone/>
              <a:defRPr sz="1231"/>
            </a:lvl8pPr>
            <a:lvl9pPr marL="4501774" indent="0">
              <a:buNone/>
              <a:defRPr sz="1231"/>
            </a:lvl9pPr>
          </a:lstStyle>
          <a:p>
            <a:pPr lvl="0"/>
            <a:r>
              <a:rPr lang="ru-RU" dirty="0" smtClean="0"/>
              <a:t>Источники: Введите </a:t>
            </a:r>
            <a:r>
              <a:rPr lang="en-US" dirty="0" smtClean="0"/>
              <a:t>Tab</a:t>
            </a:r>
            <a:r>
              <a:rPr lang="ru-RU" dirty="0" smtClean="0"/>
              <a:t> → </a:t>
            </a:r>
            <a:r>
              <a:rPr lang="en-US" dirty="0" smtClean="0"/>
              <a:t>“</a:t>
            </a:r>
            <a:r>
              <a:rPr lang="ru-RU" dirty="0" smtClean="0"/>
              <a:t>Источники</a:t>
            </a:r>
            <a:r>
              <a:rPr lang="en-US" dirty="0" smtClean="0"/>
              <a:t>:”</a:t>
            </a:r>
            <a:r>
              <a:rPr lang="ru-RU" dirty="0" smtClean="0"/>
              <a:t>, затем </a:t>
            </a:r>
            <a:r>
              <a:rPr lang="en-US" dirty="0" smtClean="0"/>
              <a:t>Tab</a:t>
            </a:r>
            <a:r>
              <a:rPr lang="ru-RU" dirty="0" smtClean="0"/>
              <a:t> → Укажите источник. Разделяйте несколько источников точкой с запятой</a:t>
            </a:r>
            <a:r>
              <a:rPr lang="en-US" dirty="0" smtClean="0"/>
              <a:t> (;</a:t>
            </a:r>
            <a:endParaRPr lang="ru-RU" dirty="0" smtClean="0"/>
          </a:p>
        </p:txBody>
      </p:sp>
      <p:sp>
        <p:nvSpPr>
          <p:cNvPr id="11" name="Content Placeholder 18"/>
          <p:cNvSpPr>
            <a:spLocks noGrp="1"/>
          </p:cNvSpPr>
          <p:nvPr>
            <p:ph sz="quarter" idx="11" hasCustomPrompt="1"/>
          </p:nvPr>
        </p:nvSpPr>
        <p:spPr>
          <a:xfrm>
            <a:off x="3102677" y="1914411"/>
            <a:ext cx="6007060" cy="3790914"/>
          </a:xfrm>
          <a:prstGeom prst="rect">
            <a:avLst/>
          </a:prstGeom>
        </p:spPr>
        <p:txBody>
          <a:bodyPr lIns="45720" tIns="45720" rIns="45720" bIns="45720"/>
          <a:lstStyle>
            <a:lvl1pPr>
              <a:spcBef>
                <a:spcPts val="0"/>
              </a:spcBef>
              <a:buClr>
                <a:schemeClr val="tx2"/>
              </a:buClr>
              <a:defRPr sz="1969">
                <a:solidFill>
                  <a:schemeClr val="tx1"/>
                </a:solidFill>
                <a:latin typeface="Calibri"/>
                <a:cs typeface="Calibri"/>
              </a:defRPr>
            </a:lvl1pPr>
            <a:lvl2pPr marL="472686" indent="-225089"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723">
                <a:solidFill>
                  <a:schemeClr val="tx1"/>
                </a:solidFill>
                <a:latin typeface="Calibri"/>
                <a:cs typeface="Calibri"/>
              </a:defRPr>
            </a:lvl2pPr>
            <a:lvl3pPr marL="697776" indent="-225089">
              <a:spcBef>
                <a:spcPts val="0"/>
              </a:spcBef>
              <a:buClr>
                <a:schemeClr val="bg2"/>
              </a:buClr>
              <a:buFont typeface="Arial" panose="020B0604020202020204" pitchFamily="34" charset="0"/>
              <a:buChar char="‒"/>
              <a:defRPr sz="1477">
                <a:solidFill>
                  <a:schemeClr val="tx1"/>
                </a:solidFill>
                <a:latin typeface="Calibri"/>
                <a:cs typeface="Calibri"/>
              </a:defRPr>
            </a:lvl3pPr>
            <a:lvl4pPr>
              <a:spcBef>
                <a:spcPts val="369"/>
              </a:spcBef>
              <a:buClr>
                <a:schemeClr val="tx2"/>
              </a:buClr>
              <a:defRPr sz="1969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477145" indent="-351701">
              <a:spcBef>
                <a:spcPts val="369"/>
              </a:spcBef>
              <a:buClr>
                <a:schemeClr val="tx2"/>
              </a:buClr>
              <a:buFont typeface="Arial" pitchFamily="34" charset="0"/>
              <a:buChar char="•"/>
              <a:defRPr sz="1969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1688165" indent="-273545">
              <a:spcBef>
                <a:spcPts val="369"/>
              </a:spcBef>
              <a:buClr>
                <a:schemeClr val="tx2"/>
              </a:buClr>
              <a:buFont typeface="Symbol" pitchFamily="18" charset="2"/>
              <a:buChar char="-"/>
              <a:defRPr sz="1969" baseline="0">
                <a:latin typeface="+mn-lt"/>
              </a:defRPr>
            </a:lvl6pPr>
          </a:lstStyle>
          <a:p>
            <a:pPr lvl="0"/>
            <a:r>
              <a:rPr lang="ru-RU" dirty="0" smtClean="0"/>
              <a:t>Блок №1 для текста или диаграммы</a:t>
            </a:r>
            <a:endParaRPr lang="en-US" dirty="0" smtClean="0"/>
          </a:p>
          <a:p>
            <a:pPr lvl="1"/>
            <a:r>
              <a:rPr lang="ru-RU" dirty="0" smtClean="0"/>
              <a:t>Второй уровень</a:t>
            </a:r>
            <a:endParaRPr lang="en-US" dirty="0" smtClean="0"/>
          </a:p>
          <a:p>
            <a:pPr lvl="2"/>
            <a:r>
              <a:rPr lang="ru-RU" dirty="0" smtClean="0"/>
              <a:t>Третий уровень</a:t>
            </a:r>
            <a:endParaRPr lang="en-US" dirty="0" smtClean="0"/>
          </a:p>
        </p:txBody>
      </p:sp>
      <p:sp>
        <p:nvSpPr>
          <p:cNvPr id="12" name="Content Placeholder 18"/>
          <p:cNvSpPr>
            <a:spLocks noGrp="1"/>
          </p:cNvSpPr>
          <p:nvPr>
            <p:ph sz="quarter" idx="29" hasCustomPrompt="1"/>
          </p:nvPr>
        </p:nvSpPr>
        <p:spPr>
          <a:xfrm>
            <a:off x="9354685" y="1914411"/>
            <a:ext cx="2356167" cy="3790914"/>
          </a:xfrm>
          <a:prstGeom prst="rect">
            <a:avLst/>
          </a:prstGeom>
        </p:spPr>
        <p:txBody>
          <a:bodyPr lIns="45720" tIns="45720" rIns="45720" bIns="45720"/>
          <a:lstStyle>
            <a:lvl1pPr>
              <a:spcBef>
                <a:spcPts val="0"/>
              </a:spcBef>
              <a:buClr>
                <a:schemeClr val="tx2"/>
              </a:buClr>
              <a:defRPr sz="1969">
                <a:solidFill>
                  <a:schemeClr val="tx1"/>
                </a:solidFill>
                <a:latin typeface="Calibri"/>
                <a:cs typeface="Calibri"/>
              </a:defRPr>
            </a:lvl1pPr>
            <a:lvl2pPr marL="472686" indent="-225089"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723">
                <a:solidFill>
                  <a:schemeClr val="tx1"/>
                </a:solidFill>
                <a:latin typeface="Calibri"/>
                <a:cs typeface="Calibri"/>
              </a:defRPr>
            </a:lvl2pPr>
            <a:lvl3pPr marL="697776" indent="-225089">
              <a:spcBef>
                <a:spcPts val="0"/>
              </a:spcBef>
              <a:buClr>
                <a:schemeClr val="bg2"/>
              </a:buClr>
              <a:buFont typeface="Arial" panose="020B0604020202020204" pitchFamily="34" charset="0"/>
              <a:buChar char="‒"/>
              <a:defRPr sz="1477">
                <a:solidFill>
                  <a:schemeClr val="tx1"/>
                </a:solidFill>
                <a:latin typeface="Calibri"/>
                <a:cs typeface="Calibri"/>
              </a:defRPr>
            </a:lvl3pPr>
            <a:lvl4pPr>
              <a:spcBef>
                <a:spcPts val="369"/>
              </a:spcBef>
              <a:buClr>
                <a:schemeClr val="tx2"/>
              </a:buClr>
              <a:defRPr sz="1969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477145" indent="-351701">
              <a:spcBef>
                <a:spcPts val="369"/>
              </a:spcBef>
              <a:buClr>
                <a:schemeClr val="tx2"/>
              </a:buClr>
              <a:buFont typeface="Arial" pitchFamily="34" charset="0"/>
              <a:buChar char="•"/>
              <a:defRPr sz="1969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1688165" indent="-273545">
              <a:spcBef>
                <a:spcPts val="369"/>
              </a:spcBef>
              <a:buClr>
                <a:schemeClr val="tx2"/>
              </a:buClr>
              <a:buFont typeface="Symbol" pitchFamily="18" charset="2"/>
              <a:buChar char="-"/>
              <a:defRPr sz="1969" baseline="0">
                <a:latin typeface="+mn-lt"/>
              </a:defRPr>
            </a:lvl6pPr>
          </a:lstStyle>
          <a:p>
            <a:pPr lvl="0"/>
            <a:r>
              <a:rPr lang="ru-RU" dirty="0" smtClean="0"/>
              <a:t>Блок №1 для текста или диаграммы</a:t>
            </a:r>
            <a:endParaRPr lang="en-US" dirty="0" smtClean="0"/>
          </a:p>
          <a:p>
            <a:pPr lvl="1"/>
            <a:r>
              <a:rPr lang="ru-RU" dirty="0" smtClean="0"/>
              <a:t>Второй уровень</a:t>
            </a:r>
            <a:endParaRPr lang="en-US" dirty="0" smtClean="0"/>
          </a:p>
          <a:p>
            <a:pPr lvl="2"/>
            <a:r>
              <a:rPr lang="ru-RU" dirty="0" smtClean="0"/>
              <a:t>Третий уровень</a:t>
            </a:r>
            <a:endParaRPr lang="en-US" dirty="0" smtClean="0"/>
          </a:p>
        </p:txBody>
      </p:sp>
      <p:sp>
        <p:nvSpPr>
          <p:cNvPr id="13" name="Content Placeholder 18"/>
          <p:cNvSpPr>
            <a:spLocks noGrp="1"/>
          </p:cNvSpPr>
          <p:nvPr>
            <p:ph sz="quarter" idx="30" hasCustomPrompt="1"/>
          </p:nvPr>
        </p:nvSpPr>
        <p:spPr>
          <a:xfrm>
            <a:off x="467511" y="1915175"/>
            <a:ext cx="2355225" cy="3790914"/>
          </a:xfrm>
          <a:prstGeom prst="rect">
            <a:avLst/>
          </a:prstGeom>
        </p:spPr>
        <p:txBody>
          <a:bodyPr lIns="45720" tIns="45720" rIns="45720" bIns="45720"/>
          <a:lstStyle>
            <a:lvl1pPr>
              <a:spcBef>
                <a:spcPts val="0"/>
              </a:spcBef>
              <a:buClr>
                <a:schemeClr val="tx2"/>
              </a:buClr>
              <a:defRPr sz="1969">
                <a:solidFill>
                  <a:schemeClr val="tx1"/>
                </a:solidFill>
                <a:latin typeface="Calibri"/>
                <a:cs typeface="Calibri"/>
              </a:defRPr>
            </a:lvl1pPr>
            <a:lvl2pPr marL="472686" indent="-225089"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723">
                <a:solidFill>
                  <a:schemeClr val="tx1"/>
                </a:solidFill>
                <a:latin typeface="Calibri"/>
                <a:cs typeface="Calibri"/>
              </a:defRPr>
            </a:lvl2pPr>
            <a:lvl3pPr marL="697776" indent="-225089">
              <a:spcBef>
                <a:spcPts val="0"/>
              </a:spcBef>
              <a:buClr>
                <a:schemeClr val="bg2"/>
              </a:buClr>
              <a:buFont typeface="Arial" panose="020B0604020202020204" pitchFamily="34" charset="0"/>
              <a:buChar char="‒"/>
              <a:defRPr sz="1477">
                <a:solidFill>
                  <a:schemeClr val="tx1"/>
                </a:solidFill>
                <a:latin typeface="Calibri"/>
                <a:cs typeface="Calibri"/>
              </a:defRPr>
            </a:lvl3pPr>
            <a:lvl4pPr>
              <a:spcBef>
                <a:spcPts val="369"/>
              </a:spcBef>
              <a:buClr>
                <a:schemeClr val="tx2"/>
              </a:buClr>
              <a:defRPr sz="1969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477145" indent="-351701">
              <a:spcBef>
                <a:spcPts val="369"/>
              </a:spcBef>
              <a:buClr>
                <a:schemeClr val="tx2"/>
              </a:buClr>
              <a:buFont typeface="Arial" pitchFamily="34" charset="0"/>
              <a:buChar char="•"/>
              <a:defRPr sz="1969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1688165" indent="-273545">
              <a:spcBef>
                <a:spcPts val="369"/>
              </a:spcBef>
              <a:buClr>
                <a:schemeClr val="tx2"/>
              </a:buClr>
              <a:buFont typeface="Symbol" pitchFamily="18" charset="2"/>
              <a:buChar char="-"/>
              <a:defRPr sz="1969" baseline="0">
                <a:latin typeface="+mn-lt"/>
              </a:defRPr>
            </a:lvl6pPr>
          </a:lstStyle>
          <a:p>
            <a:pPr lvl="0"/>
            <a:r>
              <a:rPr lang="ru-RU" dirty="0" smtClean="0"/>
              <a:t>Блок №1 для текста или диаграммы</a:t>
            </a:r>
            <a:endParaRPr lang="en-US" dirty="0" smtClean="0"/>
          </a:p>
          <a:p>
            <a:pPr lvl="1"/>
            <a:r>
              <a:rPr lang="ru-RU" dirty="0" smtClean="0"/>
              <a:t>Второй уровень</a:t>
            </a:r>
            <a:endParaRPr lang="en-US" dirty="0" smtClean="0"/>
          </a:p>
          <a:p>
            <a:pPr lvl="2"/>
            <a:r>
              <a:rPr lang="ru-RU" dirty="0" smtClean="0"/>
              <a:t>Третий уровень</a:t>
            </a:r>
            <a:endParaRPr lang="en-US" dirty="0" smtClean="0"/>
          </a:p>
        </p:txBody>
      </p:sp>
      <p:sp>
        <p:nvSpPr>
          <p:cNvPr id="14" name="Slide Number Placeholder 5"/>
          <p:cNvSpPr>
            <a:spLocks noGrp="1"/>
          </p:cNvSpPr>
          <p:nvPr>
            <p:ph type="sldNum" sz="quarter" idx="13"/>
          </p:nvPr>
        </p:nvSpPr>
        <p:spPr>
          <a:xfrm>
            <a:off x="-101599" y="6421818"/>
            <a:ext cx="667730" cy="414443"/>
          </a:xfrm>
          <a:prstGeom prst="rect">
            <a:avLst/>
          </a:prstGeom>
        </p:spPr>
        <p:txBody>
          <a:bodyPr lIns="46800" rIns="0" anchor="ctr" anchorCtr="0"/>
          <a:lstStyle>
            <a:lvl1pPr algn="r">
              <a:defRPr sz="1400" b="0">
                <a:solidFill>
                  <a:srgbClr val="EABF55"/>
                </a:solidFill>
                <a:latin typeface="Calibri"/>
                <a:cs typeface="Calibri"/>
              </a:defRPr>
            </a:lvl1pPr>
          </a:lstStyle>
          <a:p>
            <a:pPr>
              <a:defRPr/>
            </a:pPr>
            <a:fld id="{6113E31D-E2AB-40D1-8B51-AFA5AFEF393A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5608842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Одна колонка с заголовк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24311" y="-1"/>
            <a:ext cx="9778321" cy="809201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8380" y="233246"/>
            <a:ext cx="2084666" cy="318017"/>
          </a:xfrm>
          <a:prstGeom prst="rect">
            <a:avLst/>
          </a:prstGeom>
        </p:spPr>
      </p:pic>
      <p:sp>
        <p:nvSpPr>
          <p:cNvPr id="17" name="Прямоугольник 7"/>
          <p:cNvSpPr/>
          <p:nvPr userDrawn="1"/>
        </p:nvSpPr>
        <p:spPr>
          <a:xfrm>
            <a:off x="10763006" y="0"/>
            <a:ext cx="1386213" cy="2817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11254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31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www.rosgeo.com</a:t>
            </a:r>
          </a:p>
        </p:txBody>
      </p:sp>
      <p:sp>
        <p:nvSpPr>
          <p:cNvPr id="22" name="Заголовок 1"/>
          <p:cNvSpPr>
            <a:spLocks noGrp="1"/>
          </p:cNvSpPr>
          <p:nvPr>
            <p:ph type="title"/>
          </p:nvPr>
        </p:nvSpPr>
        <p:spPr>
          <a:xfrm>
            <a:off x="3466341" y="204306"/>
            <a:ext cx="8240532" cy="527474"/>
          </a:xfrm>
          <a:prstGeom prst="rect">
            <a:avLst/>
          </a:prstGeom>
        </p:spPr>
        <p:txBody>
          <a:bodyPr lIns="0"/>
          <a:lstStyle>
            <a:lvl1pPr>
              <a:defRPr sz="2462" b="1" i="0">
                <a:solidFill>
                  <a:srgbClr val="FFFFFF"/>
                </a:solidFill>
                <a:latin typeface="Calibri"/>
                <a:cs typeface="Calibri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16" name="Slide Number Placeholder 5"/>
          <p:cNvSpPr txBox="1">
            <a:spLocks/>
          </p:cNvSpPr>
          <p:nvPr userDrawn="1"/>
        </p:nvSpPr>
        <p:spPr>
          <a:xfrm>
            <a:off x="-121902" y="6366996"/>
            <a:ext cx="667730" cy="414443"/>
          </a:xfrm>
          <a:prstGeom prst="rect">
            <a:avLst/>
          </a:prstGeom>
        </p:spPr>
        <p:txBody>
          <a:bodyPr lIns="46800" rIns="0" anchor="ctr" anchorCtr="0"/>
          <a:lstStyle>
            <a:defPPr>
              <a:defRPr lang="ru-RU"/>
            </a:defPPr>
            <a:lvl1pPr marL="0" algn="r" defTabSz="914400" rtl="0" eaLnBrk="1" latinLnBrk="0" hangingPunct="1">
              <a:defRPr sz="1400" b="0" kern="1200">
                <a:solidFill>
                  <a:srgbClr val="EABF55"/>
                </a:solidFill>
                <a:latin typeface="Calibri"/>
                <a:ea typeface="+mn-ea"/>
                <a:cs typeface="Calibri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6113E31D-E2AB-40D1-8B51-AFA5AFEF393A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25827948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7413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DA2677-3B47-435B-A179-E6243DE11AFB}" type="datetimeFigureOut">
              <a:rPr lang="ru-RU" smtClean="0"/>
              <a:t>26.10.2022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5DEB1F-7F0B-48EC-B2F6-A964A480CE7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9249784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DA2677-3B47-435B-A179-E6243DE11AFB}" type="datetimeFigureOut">
              <a:rPr lang="ru-RU" smtClean="0"/>
              <a:t>26.10.2022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5DEB1F-7F0B-48EC-B2F6-A964A480CE7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73984188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DA2677-3B47-435B-A179-E6243DE11AFB}" type="datetimeFigureOut">
              <a:rPr lang="ru-RU" smtClean="0"/>
              <a:t>26.10.2022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5DEB1F-7F0B-48EC-B2F6-A964A480CE7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28979711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DA2677-3B47-435B-A179-E6243DE11AFB}" type="datetimeFigureOut">
              <a:rPr lang="ru-RU" smtClean="0"/>
              <a:t>26.10.2022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5DEB1F-7F0B-48EC-B2F6-A964A480CE7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2171393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DA2677-3B47-435B-A179-E6243DE11AFB}" type="datetimeFigureOut">
              <a:rPr lang="ru-RU" smtClean="0"/>
              <a:t>26.10.2022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5DEB1F-7F0B-48EC-B2F6-A964A480CE7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7941950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DA2677-3B47-435B-A179-E6243DE11AFB}" type="datetimeFigureOut">
              <a:rPr lang="ru-RU" smtClean="0"/>
              <a:t>26.10.2022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5DEB1F-7F0B-48EC-B2F6-A964A480CE7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1910553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DA2677-3B47-435B-A179-E6243DE11AFB}" type="datetimeFigureOut">
              <a:rPr lang="ru-RU" smtClean="0"/>
              <a:t>26.10.2022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5DEB1F-7F0B-48EC-B2F6-A964A480CE7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96927724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4.xml"/><Relationship Id="rId16" Type="http://schemas.openxmlformats.org/officeDocument/2006/relationships/image" Target="../media/image3.emf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5" Type="http://schemas.openxmlformats.org/officeDocument/2006/relationships/slideLayout" Target="../slideLayouts/slideLayout17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22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Relationship Id="rId14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DDA2677-3B47-435B-A179-E6243DE11AFB}" type="datetimeFigureOut">
              <a:rPr lang="ru-RU" smtClean="0"/>
              <a:t>26.10.2022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E5DEB1F-7F0B-48EC-B2F6-A964A480CE7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34195901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72" r:id="rId12"/>
  </p:sldLayoutIdLst>
  <p:timing>
    <p:tnLst>
      <p:par>
        <p:cTn id="1" dur="indefinite" restart="never" nodeType="tmRoot"/>
      </p:par>
    </p:tnLst>
  </p:timing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01" name="Слайд think-cell" r:id="rId15" imgW="347" imgH="346" progId="TCLayout.ActiveDocument.1">
                  <p:embed/>
                </p:oleObj>
              </mc:Choice>
              <mc:Fallback>
                <p:oleObj name="Слайд think-cell" r:id="rId15" imgW="347" imgH="346" progId="TCLayout.ActiveDocument.1">
                  <p:embed/>
                  <p:pic>
                    <p:nvPicPr>
                      <p:cNvPr id="2" name="Объект 1" hidden="1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0816321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  <p:sldLayoutId id="2147483666" r:id="rId5"/>
    <p:sldLayoutId id="2147483667" r:id="rId6"/>
    <p:sldLayoutId id="2147483668" r:id="rId7"/>
    <p:sldLayoutId id="2147483669" r:id="rId8"/>
    <p:sldLayoutId id="2147483670" r:id="rId9"/>
    <p:sldLayoutId id="2147483671" r:id="rId10"/>
    <p:sldLayoutId id="2147483673" r:id="rId11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1125442" rtl="0" eaLnBrk="1" latinLnBrk="0" hangingPunct="1">
        <a:lnSpc>
          <a:spcPct val="85000"/>
        </a:lnSpc>
        <a:spcBef>
          <a:spcPct val="0"/>
        </a:spcBef>
        <a:buNone/>
        <a:defRPr sz="3939" b="1" kern="1200" spc="-62" baseline="0">
          <a:solidFill>
            <a:schemeClr val="tx1"/>
          </a:solidFill>
          <a:latin typeface="Candara" panose="020E0502030303020204" pitchFamily="34" charset="0"/>
          <a:ea typeface="+mj-ea"/>
          <a:cs typeface="+mj-cs"/>
        </a:defRPr>
      </a:lvl1pPr>
    </p:titleStyle>
    <p:bodyStyle>
      <a:lvl1pPr marL="112544" indent="-112544" algn="l" defTabSz="1125442" rtl="0" eaLnBrk="1" latinLnBrk="0" hangingPunct="1">
        <a:lnSpc>
          <a:spcPct val="90000"/>
        </a:lnSpc>
        <a:spcBef>
          <a:spcPts val="1477"/>
        </a:spcBef>
        <a:spcAft>
          <a:spcPts val="247"/>
        </a:spcAft>
        <a:buClr>
          <a:schemeClr val="accent1"/>
        </a:buClr>
        <a:buSzPct val="100000"/>
        <a:buFont typeface="Calibri" panose="020F0502020204030204" pitchFamily="34" charset="0"/>
        <a:buChar char=" "/>
        <a:defRPr sz="3446" kern="1200">
          <a:solidFill>
            <a:schemeClr val="tx1"/>
          </a:solidFill>
          <a:latin typeface="Candara" panose="020E0502030303020204" pitchFamily="34" charset="0"/>
          <a:ea typeface="+mn-ea"/>
          <a:cs typeface="+mn-cs"/>
        </a:defRPr>
      </a:lvl1pPr>
      <a:lvl2pPr marL="472686" indent="-225089" algn="l" defTabSz="1125442" rtl="0" eaLnBrk="1" latinLnBrk="0" hangingPunct="1">
        <a:lnSpc>
          <a:spcPct val="90000"/>
        </a:lnSpc>
        <a:spcBef>
          <a:spcPts val="247"/>
        </a:spcBef>
        <a:spcAft>
          <a:spcPts val="492"/>
        </a:spcAft>
        <a:buClr>
          <a:schemeClr val="tx1">
            <a:lumMod val="50000"/>
            <a:lumOff val="50000"/>
          </a:schemeClr>
        </a:buClr>
        <a:buFont typeface="Arial" panose="020B0604020202020204" pitchFamily="34" charset="0"/>
        <a:buChar char="•"/>
        <a:defRPr sz="3446" kern="1200">
          <a:solidFill>
            <a:schemeClr val="tx1"/>
          </a:solidFill>
          <a:latin typeface="Candara" panose="020E0502030303020204" pitchFamily="34" charset="0"/>
          <a:ea typeface="+mn-ea"/>
          <a:cs typeface="+mn-cs"/>
        </a:defRPr>
      </a:lvl2pPr>
      <a:lvl3pPr marL="697776" indent="-225089" algn="l" defTabSz="1125442" rtl="0" eaLnBrk="1" latinLnBrk="0" hangingPunct="1">
        <a:lnSpc>
          <a:spcPct val="90000"/>
        </a:lnSpc>
        <a:spcBef>
          <a:spcPts val="247"/>
        </a:spcBef>
        <a:spcAft>
          <a:spcPts val="492"/>
        </a:spcAft>
        <a:buClr>
          <a:schemeClr val="tx1">
            <a:lumMod val="50000"/>
            <a:lumOff val="50000"/>
          </a:schemeClr>
        </a:buClr>
        <a:buFont typeface="Arial" panose="020B0604020202020204" pitchFamily="34" charset="0"/>
        <a:buChar char="•"/>
        <a:defRPr sz="3201" kern="1200">
          <a:solidFill>
            <a:schemeClr val="tx1"/>
          </a:solidFill>
          <a:latin typeface="Candara" panose="020E0502030303020204" pitchFamily="34" charset="0"/>
          <a:ea typeface="+mn-ea"/>
          <a:cs typeface="+mn-cs"/>
        </a:defRPr>
      </a:lvl3pPr>
      <a:lvl4pPr marL="922864" indent="-225089" algn="l" defTabSz="1125442" rtl="0" eaLnBrk="1" latinLnBrk="0" hangingPunct="1">
        <a:lnSpc>
          <a:spcPct val="90000"/>
        </a:lnSpc>
        <a:spcBef>
          <a:spcPts val="247"/>
        </a:spcBef>
        <a:spcAft>
          <a:spcPts val="492"/>
        </a:spcAft>
        <a:buClr>
          <a:schemeClr val="tx1">
            <a:lumMod val="50000"/>
            <a:lumOff val="50000"/>
          </a:schemeClr>
        </a:buClr>
        <a:buFont typeface="Arial" panose="020B0604020202020204" pitchFamily="34" charset="0"/>
        <a:buChar char="•"/>
        <a:defRPr sz="2954" kern="1200">
          <a:solidFill>
            <a:schemeClr val="tx1"/>
          </a:solidFill>
          <a:latin typeface="Candara" panose="020E0502030303020204" pitchFamily="34" charset="0"/>
          <a:ea typeface="+mn-ea"/>
          <a:cs typeface="+mn-cs"/>
        </a:defRPr>
      </a:lvl4pPr>
      <a:lvl5pPr marL="1147952" indent="-225089" algn="l" defTabSz="1125442" rtl="0" eaLnBrk="1" latinLnBrk="0" hangingPunct="1">
        <a:lnSpc>
          <a:spcPct val="90000"/>
        </a:lnSpc>
        <a:spcBef>
          <a:spcPts val="247"/>
        </a:spcBef>
        <a:spcAft>
          <a:spcPts val="492"/>
        </a:spcAft>
        <a:buClr>
          <a:schemeClr val="tx1">
            <a:lumMod val="50000"/>
            <a:lumOff val="50000"/>
          </a:schemeClr>
        </a:buClr>
        <a:buFont typeface="Arial" panose="020B0604020202020204" pitchFamily="34" charset="0"/>
        <a:buChar char="•"/>
        <a:defRPr sz="2462" kern="1200">
          <a:solidFill>
            <a:schemeClr val="tx1"/>
          </a:solidFill>
          <a:latin typeface="Candara" panose="020E0502030303020204" pitchFamily="34" charset="0"/>
          <a:ea typeface="+mn-ea"/>
          <a:cs typeface="+mn-cs"/>
        </a:defRPr>
      </a:lvl5pPr>
      <a:lvl6pPr marL="1353880" indent="-281361" algn="l" defTabSz="1125442" rtl="0" eaLnBrk="1" latinLnBrk="0" hangingPunct="1">
        <a:lnSpc>
          <a:spcPct val="90000"/>
        </a:lnSpc>
        <a:spcBef>
          <a:spcPts val="247"/>
        </a:spcBef>
        <a:spcAft>
          <a:spcPts val="492"/>
        </a:spcAft>
        <a:buClr>
          <a:schemeClr val="accent1"/>
        </a:buClr>
        <a:buFont typeface="Calibri" pitchFamily="34" charset="0"/>
        <a:buChar char="◦"/>
        <a:defRPr sz="1724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6pPr>
      <a:lvl7pPr marL="1600040" indent="-281361" algn="l" defTabSz="1125442" rtl="0" eaLnBrk="1" latinLnBrk="0" hangingPunct="1">
        <a:lnSpc>
          <a:spcPct val="90000"/>
        </a:lnSpc>
        <a:spcBef>
          <a:spcPts val="247"/>
        </a:spcBef>
        <a:spcAft>
          <a:spcPts val="492"/>
        </a:spcAft>
        <a:buClr>
          <a:schemeClr val="accent1"/>
        </a:buClr>
        <a:buFont typeface="Calibri" pitchFamily="34" charset="0"/>
        <a:buChar char="◦"/>
        <a:defRPr sz="1724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7pPr>
      <a:lvl8pPr marL="1846201" indent="-281361" algn="l" defTabSz="1125442" rtl="0" eaLnBrk="1" latinLnBrk="0" hangingPunct="1">
        <a:lnSpc>
          <a:spcPct val="90000"/>
        </a:lnSpc>
        <a:spcBef>
          <a:spcPts val="247"/>
        </a:spcBef>
        <a:spcAft>
          <a:spcPts val="492"/>
        </a:spcAft>
        <a:buClr>
          <a:schemeClr val="accent1"/>
        </a:buClr>
        <a:buFont typeface="Calibri" pitchFamily="34" charset="0"/>
        <a:buChar char="◦"/>
        <a:defRPr sz="1724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8pPr>
      <a:lvl9pPr marL="2092361" indent="-281361" algn="l" defTabSz="1125442" rtl="0" eaLnBrk="1" latinLnBrk="0" hangingPunct="1">
        <a:lnSpc>
          <a:spcPct val="90000"/>
        </a:lnSpc>
        <a:spcBef>
          <a:spcPts val="247"/>
        </a:spcBef>
        <a:spcAft>
          <a:spcPts val="492"/>
        </a:spcAft>
        <a:buClr>
          <a:schemeClr val="accent1"/>
        </a:buClr>
        <a:buFont typeface="Calibri" pitchFamily="34" charset="0"/>
        <a:buChar char="◦"/>
        <a:defRPr sz="1724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125442" rtl="0" eaLnBrk="1" latinLnBrk="0" hangingPunct="1">
        <a:defRPr sz="2217" kern="1200">
          <a:solidFill>
            <a:schemeClr val="tx1"/>
          </a:solidFill>
          <a:latin typeface="+mn-lt"/>
          <a:ea typeface="+mn-ea"/>
          <a:cs typeface="+mn-cs"/>
        </a:defRPr>
      </a:lvl1pPr>
      <a:lvl2pPr marL="562722" algn="l" defTabSz="1125442" rtl="0" eaLnBrk="1" latinLnBrk="0" hangingPunct="1">
        <a:defRPr sz="2217" kern="1200">
          <a:solidFill>
            <a:schemeClr val="tx1"/>
          </a:solidFill>
          <a:latin typeface="+mn-lt"/>
          <a:ea typeface="+mn-ea"/>
          <a:cs typeface="+mn-cs"/>
        </a:defRPr>
      </a:lvl2pPr>
      <a:lvl3pPr marL="1125442" algn="l" defTabSz="1125442" rtl="0" eaLnBrk="1" latinLnBrk="0" hangingPunct="1">
        <a:defRPr sz="2217" kern="1200">
          <a:solidFill>
            <a:schemeClr val="tx1"/>
          </a:solidFill>
          <a:latin typeface="+mn-lt"/>
          <a:ea typeface="+mn-ea"/>
          <a:cs typeface="+mn-cs"/>
        </a:defRPr>
      </a:lvl3pPr>
      <a:lvl4pPr marL="1688165" algn="l" defTabSz="1125442" rtl="0" eaLnBrk="1" latinLnBrk="0" hangingPunct="1">
        <a:defRPr sz="2217" kern="1200">
          <a:solidFill>
            <a:schemeClr val="tx1"/>
          </a:solidFill>
          <a:latin typeface="+mn-lt"/>
          <a:ea typeface="+mn-ea"/>
          <a:cs typeface="+mn-cs"/>
        </a:defRPr>
      </a:lvl4pPr>
      <a:lvl5pPr marL="2250887" algn="l" defTabSz="1125442" rtl="0" eaLnBrk="1" latinLnBrk="0" hangingPunct="1">
        <a:defRPr sz="2217" kern="1200">
          <a:solidFill>
            <a:schemeClr val="tx1"/>
          </a:solidFill>
          <a:latin typeface="+mn-lt"/>
          <a:ea typeface="+mn-ea"/>
          <a:cs typeface="+mn-cs"/>
        </a:defRPr>
      </a:lvl5pPr>
      <a:lvl6pPr marL="2813610" algn="l" defTabSz="1125442" rtl="0" eaLnBrk="1" latinLnBrk="0" hangingPunct="1">
        <a:defRPr sz="2217" kern="1200">
          <a:solidFill>
            <a:schemeClr val="tx1"/>
          </a:solidFill>
          <a:latin typeface="+mn-lt"/>
          <a:ea typeface="+mn-ea"/>
          <a:cs typeface="+mn-cs"/>
        </a:defRPr>
      </a:lvl6pPr>
      <a:lvl7pPr marL="3376331" algn="l" defTabSz="1125442" rtl="0" eaLnBrk="1" latinLnBrk="0" hangingPunct="1">
        <a:defRPr sz="2217" kern="1200">
          <a:solidFill>
            <a:schemeClr val="tx1"/>
          </a:solidFill>
          <a:latin typeface="+mn-lt"/>
          <a:ea typeface="+mn-ea"/>
          <a:cs typeface="+mn-cs"/>
        </a:defRPr>
      </a:lvl7pPr>
      <a:lvl8pPr marL="3939052" algn="l" defTabSz="1125442" rtl="0" eaLnBrk="1" latinLnBrk="0" hangingPunct="1">
        <a:defRPr sz="2217" kern="1200">
          <a:solidFill>
            <a:schemeClr val="tx1"/>
          </a:solidFill>
          <a:latin typeface="+mn-lt"/>
          <a:ea typeface="+mn-ea"/>
          <a:cs typeface="+mn-cs"/>
        </a:defRPr>
      </a:lvl8pPr>
      <a:lvl9pPr marL="4501774" algn="l" defTabSz="1125442" rtl="0" eaLnBrk="1" latinLnBrk="0" hangingPunct="1">
        <a:defRPr sz="221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384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9.png"/><Relationship Id="rId5" Type="http://schemas.openxmlformats.org/officeDocument/2006/relationships/image" Target="../media/image8.png"/><Relationship Id="rId4" Type="http://schemas.openxmlformats.org/officeDocument/2006/relationships/image" Target="../media/image7.jpeg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jpeg"/><Relationship Id="rId3" Type="http://schemas.openxmlformats.org/officeDocument/2006/relationships/tags" Target="../tags/tag20.xml"/><Relationship Id="rId7" Type="http://schemas.openxmlformats.org/officeDocument/2006/relationships/image" Target="../media/image3.emf"/><Relationship Id="rId2" Type="http://schemas.openxmlformats.org/officeDocument/2006/relationships/tags" Target="../tags/tag19.xml"/><Relationship Id="rId1" Type="http://schemas.openxmlformats.org/officeDocument/2006/relationships/vmlDrawing" Target="../drawings/vmlDrawing10.vml"/><Relationship Id="rId6" Type="http://schemas.openxmlformats.org/officeDocument/2006/relationships/oleObject" Target="../embeddings/oleObject10.bin"/><Relationship Id="rId5" Type="http://schemas.openxmlformats.org/officeDocument/2006/relationships/notesSlide" Target="../notesSlides/notesSlide9.xml"/><Relationship Id="rId4" Type="http://schemas.openxmlformats.org/officeDocument/2006/relationships/slideLayout" Target="../slideLayouts/slideLayout23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tags" Target="../tags/tag22.xml"/><Relationship Id="rId7" Type="http://schemas.openxmlformats.org/officeDocument/2006/relationships/image" Target="../media/image3.emf"/><Relationship Id="rId2" Type="http://schemas.openxmlformats.org/officeDocument/2006/relationships/tags" Target="../tags/tag21.xml"/><Relationship Id="rId1" Type="http://schemas.openxmlformats.org/officeDocument/2006/relationships/vmlDrawing" Target="../drawings/vmlDrawing11.vml"/><Relationship Id="rId6" Type="http://schemas.openxmlformats.org/officeDocument/2006/relationships/oleObject" Target="../embeddings/oleObject11.bin"/><Relationship Id="rId5" Type="http://schemas.openxmlformats.org/officeDocument/2006/relationships/notesSlide" Target="../notesSlides/notesSlide10.xml"/><Relationship Id="rId4" Type="http://schemas.openxmlformats.org/officeDocument/2006/relationships/slideLayout" Target="../slideLayouts/slideLayout23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png"/><Relationship Id="rId3" Type="http://schemas.openxmlformats.org/officeDocument/2006/relationships/tags" Target="../tags/tag24.xml"/><Relationship Id="rId7" Type="http://schemas.openxmlformats.org/officeDocument/2006/relationships/image" Target="../media/image3.emf"/><Relationship Id="rId2" Type="http://schemas.openxmlformats.org/officeDocument/2006/relationships/tags" Target="../tags/tag23.xml"/><Relationship Id="rId1" Type="http://schemas.openxmlformats.org/officeDocument/2006/relationships/vmlDrawing" Target="../drawings/vmlDrawing12.vml"/><Relationship Id="rId6" Type="http://schemas.openxmlformats.org/officeDocument/2006/relationships/oleObject" Target="../embeddings/oleObject12.bin"/><Relationship Id="rId5" Type="http://schemas.openxmlformats.org/officeDocument/2006/relationships/notesSlide" Target="../notesSlides/notesSlide11.xml"/><Relationship Id="rId4" Type="http://schemas.openxmlformats.org/officeDocument/2006/relationships/slideLayout" Target="../slideLayouts/slideLayout23.xml"/><Relationship Id="rId9" Type="http://schemas.openxmlformats.org/officeDocument/2006/relationships/image" Target="../media/image6.sv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diagramData" Target="../diagrams/data1.xml"/><Relationship Id="rId13" Type="http://schemas.openxmlformats.org/officeDocument/2006/relationships/diagramData" Target="../diagrams/data2.xml"/><Relationship Id="rId18" Type="http://schemas.openxmlformats.org/officeDocument/2006/relationships/diagramData" Target="../diagrams/data3.xml"/><Relationship Id="rId3" Type="http://schemas.openxmlformats.org/officeDocument/2006/relationships/tags" Target="../tags/tag26.xml"/><Relationship Id="rId21" Type="http://schemas.openxmlformats.org/officeDocument/2006/relationships/diagramColors" Target="../diagrams/colors3.xml"/><Relationship Id="rId7" Type="http://schemas.openxmlformats.org/officeDocument/2006/relationships/image" Target="../media/image3.emf"/><Relationship Id="rId12" Type="http://schemas.microsoft.com/office/2007/relationships/diagramDrawing" Target="../diagrams/drawing1.xml"/><Relationship Id="rId17" Type="http://schemas.microsoft.com/office/2007/relationships/diagramDrawing" Target="../diagrams/drawing2.xml"/><Relationship Id="rId2" Type="http://schemas.openxmlformats.org/officeDocument/2006/relationships/tags" Target="../tags/tag25.xml"/><Relationship Id="rId16" Type="http://schemas.openxmlformats.org/officeDocument/2006/relationships/diagramColors" Target="../diagrams/colors2.xml"/><Relationship Id="rId20" Type="http://schemas.openxmlformats.org/officeDocument/2006/relationships/diagramQuickStyle" Target="../diagrams/quickStyle3.xml"/><Relationship Id="rId1" Type="http://schemas.openxmlformats.org/officeDocument/2006/relationships/vmlDrawing" Target="../drawings/vmlDrawing13.vml"/><Relationship Id="rId6" Type="http://schemas.openxmlformats.org/officeDocument/2006/relationships/oleObject" Target="../embeddings/oleObject13.bin"/><Relationship Id="rId11" Type="http://schemas.openxmlformats.org/officeDocument/2006/relationships/diagramColors" Target="../diagrams/colors1.xml"/><Relationship Id="rId5" Type="http://schemas.openxmlformats.org/officeDocument/2006/relationships/notesSlide" Target="../notesSlides/notesSlide12.xml"/><Relationship Id="rId15" Type="http://schemas.openxmlformats.org/officeDocument/2006/relationships/diagramQuickStyle" Target="../diagrams/quickStyle2.xml"/><Relationship Id="rId10" Type="http://schemas.openxmlformats.org/officeDocument/2006/relationships/diagramQuickStyle" Target="../diagrams/quickStyle1.xml"/><Relationship Id="rId19" Type="http://schemas.openxmlformats.org/officeDocument/2006/relationships/diagramLayout" Target="../diagrams/layout3.xml"/><Relationship Id="rId4" Type="http://schemas.openxmlformats.org/officeDocument/2006/relationships/slideLayout" Target="../slideLayouts/slideLayout23.xml"/><Relationship Id="rId9" Type="http://schemas.openxmlformats.org/officeDocument/2006/relationships/diagramLayout" Target="../diagrams/layout1.xml"/><Relationship Id="rId14" Type="http://schemas.openxmlformats.org/officeDocument/2006/relationships/diagramLayout" Target="../diagrams/layout2.xml"/><Relationship Id="rId22" Type="http://schemas.microsoft.com/office/2007/relationships/diagramDrawing" Target="../diagrams/drawing3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tags" Target="../tags/tag28.xml"/><Relationship Id="rId7" Type="http://schemas.openxmlformats.org/officeDocument/2006/relationships/image" Target="../media/image3.emf"/><Relationship Id="rId2" Type="http://schemas.openxmlformats.org/officeDocument/2006/relationships/tags" Target="../tags/tag27.xml"/><Relationship Id="rId1" Type="http://schemas.openxmlformats.org/officeDocument/2006/relationships/vmlDrawing" Target="../drawings/vmlDrawing14.vml"/><Relationship Id="rId6" Type="http://schemas.openxmlformats.org/officeDocument/2006/relationships/oleObject" Target="../embeddings/oleObject14.bin"/><Relationship Id="rId5" Type="http://schemas.openxmlformats.org/officeDocument/2006/relationships/notesSlide" Target="../notesSlides/notesSlide13.xml"/><Relationship Id="rId4" Type="http://schemas.openxmlformats.org/officeDocument/2006/relationships/slideLayout" Target="../slideLayouts/slideLayout17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jpeg"/><Relationship Id="rId3" Type="http://schemas.openxmlformats.org/officeDocument/2006/relationships/tags" Target="../tags/tag30.xml"/><Relationship Id="rId7" Type="http://schemas.openxmlformats.org/officeDocument/2006/relationships/image" Target="../media/image3.emf"/><Relationship Id="rId2" Type="http://schemas.openxmlformats.org/officeDocument/2006/relationships/tags" Target="../tags/tag29.xml"/><Relationship Id="rId1" Type="http://schemas.openxmlformats.org/officeDocument/2006/relationships/vmlDrawing" Target="../drawings/vmlDrawing15.vml"/><Relationship Id="rId6" Type="http://schemas.openxmlformats.org/officeDocument/2006/relationships/oleObject" Target="../embeddings/oleObject15.bin"/><Relationship Id="rId5" Type="http://schemas.openxmlformats.org/officeDocument/2006/relationships/notesSlide" Target="../notesSlides/notesSlide14.xml"/><Relationship Id="rId4" Type="http://schemas.openxmlformats.org/officeDocument/2006/relationships/slideLayout" Target="../slideLayouts/slideLayout23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jpeg"/><Relationship Id="rId3" Type="http://schemas.openxmlformats.org/officeDocument/2006/relationships/tags" Target="../tags/tag32.xml"/><Relationship Id="rId7" Type="http://schemas.openxmlformats.org/officeDocument/2006/relationships/image" Target="../media/image3.emf"/><Relationship Id="rId2" Type="http://schemas.openxmlformats.org/officeDocument/2006/relationships/tags" Target="../tags/tag31.xml"/><Relationship Id="rId1" Type="http://schemas.openxmlformats.org/officeDocument/2006/relationships/vmlDrawing" Target="../drawings/vmlDrawing16.vml"/><Relationship Id="rId6" Type="http://schemas.openxmlformats.org/officeDocument/2006/relationships/oleObject" Target="../embeddings/oleObject16.bin"/><Relationship Id="rId5" Type="http://schemas.openxmlformats.org/officeDocument/2006/relationships/notesSlide" Target="../notesSlides/notesSlide15.xml"/><Relationship Id="rId4" Type="http://schemas.openxmlformats.org/officeDocument/2006/relationships/slideLayout" Target="../slideLayouts/slideLayout23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13" Type="http://schemas.openxmlformats.org/officeDocument/2006/relationships/image" Target="../media/image6.svg"/><Relationship Id="rId3" Type="http://schemas.openxmlformats.org/officeDocument/2006/relationships/tags" Target="../tags/tag4.xml"/><Relationship Id="rId7" Type="http://schemas.openxmlformats.org/officeDocument/2006/relationships/image" Target="../media/image3.emf"/><Relationship Id="rId12" Type="http://schemas.openxmlformats.org/officeDocument/2006/relationships/image" Target="../media/image13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11" Type="http://schemas.openxmlformats.org/officeDocument/2006/relationships/image" Target="../media/image4.svg"/><Relationship Id="rId5" Type="http://schemas.openxmlformats.org/officeDocument/2006/relationships/notesSlide" Target="../notesSlides/notesSlide1.xml"/><Relationship Id="rId10" Type="http://schemas.openxmlformats.org/officeDocument/2006/relationships/image" Target="../media/image12.png"/><Relationship Id="rId4" Type="http://schemas.openxmlformats.org/officeDocument/2006/relationships/slideLayout" Target="../slideLayouts/slideLayout12.xml"/><Relationship Id="rId9" Type="http://schemas.openxmlformats.org/officeDocument/2006/relationships/image" Target="../media/image11.png"/><Relationship Id="rId14" Type="http://schemas.openxmlformats.org/officeDocument/2006/relationships/image" Target="../media/image14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jpeg"/><Relationship Id="rId3" Type="http://schemas.openxmlformats.org/officeDocument/2006/relationships/tags" Target="../tags/tag6.xml"/><Relationship Id="rId7" Type="http://schemas.openxmlformats.org/officeDocument/2006/relationships/image" Target="../media/image3.emf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notesSlide" Target="../notesSlides/notesSlide2.xml"/><Relationship Id="rId4" Type="http://schemas.openxmlformats.org/officeDocument/2006/relationships/slideLayout" Target="../slideLayouts/slideLayout12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jpeg"/><Relationship Id="rId3" Type="http://schemas.openxmlformats.org/officeDocument/2006/relationships/tags" Target="../tags/tag8.xml"/><Relationship Id="rId7" Type="http://schemas.openxmlformats.org/officeDocument/2006/relationships/image" Target="../media/image3.emf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5" Type="http://schemas.openxmlformats.org/officeDocument/2006/relationships/notesSlide" Target="../notesSlides/notesSlide3.xml"/><Relationship Id="rId4" Type="http://schemas.openxmlformats.org/officeDocument/2006/relationships/slideLayout" Target="../slideLayouts/slideLayout17.xml"/><Relationship Id="rId9" Type="http://schemas.openxmlformats.org/officeDocument/2006/relationships/image" Target="../media/image17.jpe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7" Type="http://schemas.openxmlformats.org/officeDocument/2006/relationships/image" Target="../media/image3.emf"/><Relationship Id="rId2" Type="http://schemas.openxmlformats.org/officeDocument/2006/relationships/tags" Target="../tags/tag9.xml"/><Relationship Id="rId1" Type="http://schemas.openxmlformats.org/officeDocument/2006/relationships/vmlDrawing" Target="../drawings/vmlDrawing5.vml"/><Relationship Id="rId6" Type="http://schemas.openxmlformats.org/officeDocument/2006/relationships/oleObject" Target="../embeddings/oleObject5.bin"/><Relationship Id="rId5" Type="http://schemas.openxmlformats.org/officeDocument/2006/relationships/notesSlide" Target="../notesSlides/notesSlide4.xml"/><Relationship Id="rId4" Type="http://schemas.openxmlformats.org/officeDocument/2006/relationships/slideLayout" Target="../slideLayouts/slideLayout17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jpeg"/><Relationship Id="rId3" Type="http://schemas.openxmlformats.org/officeDocument/2006/relationships/tags" Target="../tags/tag12.xml"/><Relationship Id="rId7" Type="http://schemas.openxmlformats.org/officeDocument/2006/relationships/image" Target="../media/image3.emf"/><Relationship Id="rId2" Type="http://schemas.openxmlformats.org/officeDocument/2006/relationships/tags" Target="../tags/tag11.xml"/><Relationship Id="rId1" Type="http://schemas.openxmlformats.org/officeDocument/2006/relationships/vmlDrawing" Target="../drawings/vmlDrawing6.vml"/><Relationship Id="rId6" Type="http://schemas.openxmlformats.org/officeDocument/2006/relationships/oleObject" Target="../embeddings/oleObject6.bin"/><Relationship Id="rId5" Type="http://schemas.openxmlformats.org/officeDocument/2006/relationships/notesSlide" Target="../notesSlides/notesSlide5.xml"/><Relationship Id="rId10" Type="http://schemas.openxmlformats.org/officeDocument/2006/relationships/image" Target="../media/image20.jpeg"/><Relationship Id="rId4" Type="http://schemas.openxmlformats.org/officeDocument/2006/relationships/slideLayout" Target="../slideLayouts/slideLayout17.xml"/><Relationship Id="rId9" Type="http://schemas.openxmlformats.org/officeDocument/2006/relationships/image" Target="../media/image19.jpe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jpeg"/><Relationship Id="rId3" Type="http://schemas.openxmlformats.org/officeDocument/2006/relationships/tags" Target="../tags/tag14.xml"/><Relationship Id="rId7" Type="http://schemas.openxmlformats.org/officeDocument/2006/relationships/image" Target="../media/image3.emf"/><Relationship Id="rId2" Type="http://schemas.openxmlformats.org/officeDocument/2006/relationships/tags" Target="../tags/tag13.xml"/><Relationship Id="rId1" Type="http://schemas.openxmlformats.org/officeDocument/2006/relationships/vmlDrawing" Target="../drawings/vmlDrawing7.vml"/><Relationship Id="rId6" Type="http://schemas.openxmlformats.org/officeDocument/2006/relationships/oleObject" Target="../embeddings/oleObject7.bin"/><Relationship Id="rId5" Type="http://schemas.openxmlformats.org/officeDocument/2006/relationships/notesSlide" Target="../notesSlides/notesSlide6.xml"/><Relationship Id="rId4" Type="http://schemas.openxmlformats.org/officeDocument/2006/relationships/slideLayout" Target="../slideLayouts/slideLayout17.xml"/><Relationship Id="rId9" Type="http://schemas.openxmlformats.org/officeDocument/2006/relationships/image" Target="../media/image18.jpe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jpeg"/><Relationship Id="rId3" Type="http://schemas.openxmlformats.org/officeDocument/2006/relationships/tags" Target="../tags/tag16.xml"/><Relationship Id="rId7" Type="http://schemas.openxmlformats.org/officeDocument/2006/relationships/image" Target="../media/image3.emf"/><Relationship Id="rId2" Type="http://schemas.openxmlformats.org/officeDocument/2006/relationships/tags" Target="../tags/tag15.xml"/><Relationship Id="rId1" Type="http://schemas.openxmlformats.org/officeDocument/2006/relationships/vmlDrawing" Target="../drawings/vmlDrawing8.vml"/><Relationship Id="rId6" Type="http://schemas.openxmlformats.org/officeDocument/2006/relationships/oleObject" Target="../embeddings/oleObject8.bin"/><Relationship Id="rId5" Type="http://schemas.openxmlformats.org/officeDocument/2006/relationships/notesSlide" Target="../notesSlides/notesSlide7.xml"/><Relationship Id="rId4" Type="http://schemas.openxmlformats.org/officeDocument/2006/relationships/slideLayout" Target="../slideLayouts/slideLayout23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png"/><Relationship Id="rId3" Type="http://schemas.openxmlformats.org/officeDocument/2006/relationships/tags" Target="../tags/tag18.xml"/><Relationship Id="rId7" Type="http://schemas.openxmlformats.org/officeDocument/2006/relationships/image" Target="../media/image3.emf"/><Relationship Id="rId2" Type="http://schemas.openxmlformats.org/officeDocument/2006/relationships/tags" Target="../tags/tag17.xml"/><Relationship Id="rId1" Type="http://schemas.openxmlformats.org/officeDocument/2006/relationships/vmlDrawing" Target="../drawings/vmlDrawing9.vml"/><Relationship Id="rId6" Type="http://schemas.openxmlformats.org/officeDocument/2006/relationships/oleObject" Target="../embeddings/oleObject9.bin"/><Relationship Id="rId5" Type="http://schemas.openxmlformats.org/officeDocument/2006/relationships/notesSlide" Target="../notesSlides/notesSlide8.xml"/><Relationship Id="rId4" Type="http://schemas.openxmlformats.org/officeDocument/2006/relationships/slideLayout" Target="../slideLayouts/slideLayout2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Группа 9"/>
          <p:cNvGrpSpPr/>
          <p:nvPr/>
        </p:nvGrpSpPr>
        <p:grpSpPr>
          <a:xfrm>
            <a:off x="-11406" y="-1"/>
            <a:ext cx="12203406" cy="6923315"/>
            <a:chOff x="-11406" y="-1"/>
            <a:chExt cx="12203406" cy="6923315"/>
          </a:xfrm>
        </p:grpSpPr>
        <p:pic>
          <p:nvPicPr>
            <p:cNvPr id="3" name="Рисунок 2">
              <a:extLst>
                <a:ext uri="{FF2B5EF4-FFF2-40B4-BE49-F238E27FC236}">
                  <a16:creationId xmlns:a16="http://schemas.microsoft.com/office/drawing/2014/main" xmlns="" id="{5EA60434-F7F2-4FF7-8F0C-5529B8EB62D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-11406" y="2955636"/>
              <a:ext cx="4029223" cy="3967678"/>
            </a:xfrm>
            <a:prstGeom prst="rect">
              <a:avLst/>
            </a:prstGeom>
          </p:spPr>
        </p:pic>
        <p:pic>
          <p:nvPicPr>
            <p:cNvPr id="2" name="Picture 1">
              <a:extLst>
                <a:ext uri="{FF2B5EF4-FFF2-40B4-BE49-F238E27FC236}">
                  <a16:creationId xmlns:a16="http://schemas.microsoft.com/office/drawing/2014/main" xmlns="" id="{7728CE0B-4D8E-4E40-63E0-692697F7FCC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-1"/>
            <a:stretch/>
          </p:blipFill>
          <p:spPr>
            <a:xfrm>
              <a:off x="1" y="1"/>
              <a:ext cx="4017816" cy="3110568"/>
            </a:xfrm>
            <a:prstGeom prst="rect">
              <a:avLst/>
            </a:prstGeom>
          </p:spPr>
        </p:pic>
        <p:pic>
          <p:nvPicPr>
            <p:cNvPr id="9" name="Рисунок 8">
              <a:extLst>
                <a:ext uri="{FF2B5EF4-FFF2-40B4-BE49-F238E27FC236}">
                  <a16:creationId xmlns:a16="http://schemas.microsoft.com/office/drawing/2014/main" xmlns="" id="{5EA60434-F7F2-4FF7-8F0C-5529B8EB62D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-3"/>
            <a:stretch/>
          </p:blipFill>
          <p:spPr>
            <a:xfrm>
              <a:off x="4017817" y="-1"/>
              <a:ext cx="8174183" cy="2149967"/>
            </a:xfrm>
            <a:prstGeom prst="rect">
              <a:avLst/>
            </a:prstGeom>
          </p:spPr>
        </p:pic>
      </p:grp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F91B5571-AACA-244C-8A96-B89998B2FE96}"/>
              </a:ext>
            </a:extLst>
          </p:cNvPr>
          <p:cNvSpPr txBox="1">
            <a:spLocks/>
          </p:cNvSpPr>
          <p:nvPr/>
        </p:nvSpPr>
        <p:spPr>
          <a:xfrm>
            <a:off x="4029224" y="2374815"/>
            <a:ext cx="8162777" cy="1744603"/>
          </a:xfrm>
          <a:prstGeom prst="rect">
            <a:avLst/>
          </a:prstGeom>
        </p:spPr>
        <p:txBody>
          <a:bodyPr/>
          <a:lstStyle>
            <a:lvl1pPr algn="l" defTabSz="886236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3102" b="1" kern="1200" spc="-49" baseline="0">
                <a:solidFill>
                  <a:schemeClr val="tx1"/>
                </a:solidFill>
                <a:latin typeface="Candara" panose="020E0502030303020204" pitchFamily="34" charset="0"/>
                <a:ea typeface="+mj-ea"/>
                <a:cs typeface="+mj-cs"/>
              </a:defRPr>
            </a:lvl1pPr>
          </a:lstStyle>
          <a:p>
            <a:pPr algn="ctr">
              <a:lnSpc>
                <a:spcPct val="120000"/>
              </a:lnSpc>
            </a:pPr>
            <a:r>
              <a:rPr lang="ru-RU" sz="2800" dirty="0" smtClean="0">
                <a:latin typeface="Titillium Web"/>
                <a:cs typeface="Helvetica" panose="020B0604020202020204" pitchFamily="34" charset="0"/>
              </a:rPr>
              <a:t>ПРОЕКТ СОЗДАНИЯ </a:t>
            </a:r>
          </a:p>
          <a:p>
            <a:pPr algn="ctr">
              <a:lnSpc>
                <a:spcPct val="120000"/>
              </a:lnSpc>
            </a:pPr>
            <a:r>
              <a:rPr lang="ru-RU" sz="2800" dirty="0" smtClean="0">
                <a:latin typeface="Titillium Web"/>
                <a:cs typeface="Helvetica" panose="020B0604020202020204" pitchFamily="34" charset="0"/>
              </a:rPr>
              <a:t>ЕДИНОГО РАСЧЕТНОГО ЦЕНТРА</a:t>
            </a:r>
          </a:p>
          <a:p>
            <a:pPr algn="ctr">
              <a:lnSpc>
                <a:spcPct val="120000"/>
              </a:lnSpc>
            </a:pPr>
            <a:r>
              <a:rPr lang="ru-RU" sz="2800" dirty="0" smtClean="0">
                <a:latin typeface="Titillium Web"/>
                <a:cs typeface="Helvetica" panose="020B0604020202020204" pitchFamily="34" charset="0"/>
              </a:rPr>
              <a:t>НА БАЗЕ 1С:УПРАВЛЕНИЕ ХОЛДИНГОМ </a:t>
            </a:r>
            <a:endParaRPr lang="ru-RU" sz="2800" dirty="0">
              <a:latin typeface="Titillium Web"/>
              <a:cs typeface="Helvetica" panose="020B0604020202020204" pitchFamily="34" charset="0"/>
            </a:endParaRPr>
          </a:p>
        </p:txBody>
      </p:sp>
      <p:sp>
        <p:nvSpPr>
          <p:cNvPr id="5" name="Заголовок 3">
            <a:extLst>
              <a:ext uri="{FF2B5EF4-FFF2-40B4-BE49-F238E27FC236}">
                <a16:creationId xmlns:a16="http://schemas.microsoft.com/office/drawing/2014/main" xmlns="" id="{250C61F6-7737-4285-821D-13FCD9D6EA34}"/>
              </a:ext>
            </a:extLst>
          </p:cNvPr>
          <p:cNvSpPr txBox="1">
            <a:spLocks/>
          </p:cNvSpPr>
          <p:nvPr/>
        </p:nvSpPr>
        <p:spPr>
          <a:xfrm>
            <a:off x="8063611" y="4743829"/>
            <a:ext cx="3901440" cy="1365246"/>
          </a:xfrm>
          <a:prstGeom prst="rect">
            <a:avLst/>
          </a:prstGeom>
        </p:spPr>
        <p:txBody>
          <a:bodyPr/>
          <a:lstStyle>
            <a:lvl1pPr algn="l" defTabSz="886236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3102" b="1" kern="1200" spc="-49" baseline="0">
                <a:solidFill>
                  <a:schemeClr val="tx1"/>
                </a:solidFill>
                <a:latin typeface="Candara" panose="020E0502030303020204" pitchFamily="34" charset="0"/>
                <a:ea typeface="+mj-ea"/>
                <a:cs typeface="+mj-cs"/>
              </a:defRPr>
            </a:lvl1pPr>
          </a:lstStyle>
          <a:p>
            <a:pPr algn="r">
              <a:lnSpc>
                <a:spcPct val="100000"/>
              </a:lnSpc>
            </a:pPr>
            <a:r>
              <a:rPr lang="ru-RU" sz="1800" i="1" dirty="0" smtClean="0">
                <a:latin typeface="Helvetica" pitchFamily="2" charset="0"/>
              </a:rPr>
              <a:t>Скорнякова Светлана</a:t>
            </a:r>
          </a:p>
          <a:p>
            <a:pPr algn="r">
              <a:lnSpc>
                <a:spcPct val="100000"/>
              </a:lnSpc>
            </a:pPr>
            <a:endParaRPr lang="ru-RU" sz="1800" i="1" dirty="0" smtClean="0">
              <a:latin typeface="Helvetica" pitchFamily="2" charset="0"/>
            </a:endParaRPr>
          </a:p>
          <a:p>
            <a:pPr algn="r">
              <a:lnSpc>
                <a:spcPct val="100000"/>
              </a:lnSpc>
            </a:pPr>
            <a:r>
              <a:rPr lang="ru-RU" sz="1800" i="1" dirty="0" smtClean="0">
                <a:latin typeface="Helvetica" pitchFamily="2" charset="0"/>
              </a:rPr>
              <a:t>Директор департамента управление ликвидностью</a:t>
            </a:r>
            <a:endParaRPr lang="ru-RU" sz="1800" i="1" dirty="0">
              <a:latin typeface="Helvetica" pitchFamily="2" charset="0"/>
            </a:endParaRPr>
          </a:p>
        </p:txBody>
      </p:sp>
      <p:sp>
        <p:nvSpPr>
          <p:cNvPr id="6" name="Заголовок 3">
            <a:extLst>
              <a:ext uri="{FF2B5EF4-FFF2-40B4-BE49-F238E27FC236}">
                <a16:creationId xmlns:a16="http://schemas.microsoft.com/office/drawing/2014/main" xmlns="" id="{250C61F6-7737-4285-821D-13FCD9D6EA34}"/>
              </a:ext>
            </a:extLst>
          </p:cNvPr>
          <p:cNvSpPr txBox="1">
            <a:spLocks/>
          </p:cNvSpPr>
          <p:nvPr/>
        </p:nvSpPr>
        <p:spPr>
          <a:xfrm>
            <a:off x="11220594" y="6047550"/>
            <a:ext cx="731051" cy="474925"/>
          </a:xfrm>
          <a:prstGeom prst="rect">
            <a:avLst/>
          </a:prstGeom>
        </p:spPr>
        <p:txBody>
          <a:bodyPr/>
          <a:lstStyle>
            <a:lvl1pPr algn="l" defTabSz="886236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3102" b="1" kern="1200" spc="-49" baseline="0">
                <a:solidFill>
                  <a:schemeClr val="tx1"/>
                </a:solidFill>
                <a:latin typeface="Candara" panose="020E0502030303020204" pitchFamily="34" charset="0"/>
                <a:ea typeface="+mj-ea"/>
                <a:cs typeface="+mj-cs"/>
              </a:defRPr>
            </a:lvl1pPr>
          </a:lstStyle>
          <a:p>
            <a:pPr algn="r">
              <a:lnSpc>
                <a:spcPct val="100000"/>
              </a:lnSpc>
            </a:pPr>
            <a:r>
              <a:rPr lang="ru-RU" sz="1600" i="1" dirty="0" smtClean="0">
                <a:latin typeface="Helvetica" pitchFamily="2" charset="0"/>
              </a:rPr>
              <a:t>2022</a:t>
            </a:r>
            <a:endParaRPr lang="ru-RU" sz="1600" i="1" dirty="0">
              <a:latin typeface="Helvetica" pitchFamily="2" charset="0"/>
            </a:endParaRPr>
          </a:p>
        </p:txBody>
      </p:sp>
      <p:pic>
        <p:nvPicPr>
          <p:cNvPr id="20482" name="Picture 2" descr="1С:Предприятие 8.3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50965" y="4720151"/>
            <a:ext cx="1502007" cy="14126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Google Shape;90;p1"/>
          <p:cNvPicPr preferRelativeResize="0"/>
          <p:nvPr/>
        </p:nvPicPr>
        <p:blipFill rotWithShape="1">
          <a:blip r:embed="rId6">
            <a:alphaModFix/>
          </a:blip>
          <a:srcRect/>
          <a:stretch/>
        </p:blipFill>
        <p:spPr>
          <a:xfrm>
            <a:off x="4340787" y="5426452"/>
            <a:ext cx="2387207" cy="554469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8894680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68" name="Слайд think-cell" r:id="rId6" imgW="347" imgH="346" progId="TCLayout.ActiveDocument.1">
                  <p:embed/>
                </p:oleObj>
              </mc:Choice>
              <mc:Fallback>
                <p:oleObj name="Слайд think-cell" r:id="rId6" imgW="347" imgH="34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Прямоугольник 6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ru-RU" sz="2462" b="1" dirty="0">
              <a:latin typeface="Calibri" panose="020F0502020204030204" pitchFamily="34" charset="0"/>
              <a:ea typeface="+mj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2800" dirty="0">
                <a:solidFill>
                  <a:schemeClr val="bg1"/>
                </a:solidFill>
                <a:latin typeface="Titillium Web"/>
              </a:rPr>
              <a:t>Результаты</a:t>
            </a:r>
            <a:r>
              <a:rPr lang="ru-RU" sz="2800" spc="0" dirty="0">
                <a:solidFill>
                  <a:schemeClr val="bg1"/>
                </a:solidFill>
                <a:latin typeface="Titillium Web"/>
              </a:rPr>
              <a:t> проекта: Для ДЗО</a:t>
            </a:r>
            <a:br>
              <a:rPr lang="ru-RU" sz="2800" spc="0" dirty="0">
                <a:solidFill>
                  <a:schemeClr val="bg1"/>
                </a:solidFill>
                <a:latin typeface="Titillium Web"/>
              </a:rPr>
            </a:br>
            <a:r>
              <a:rPr lang="en-US" sz="2800" spc="0" dirty="0">
                <a:solidFill>
                  <a:schemeClr val="bg1"/>
                </a:solidFill>
                <a:latin typeface="Titillium Web"/>
              </a:rPr>
              <a:t/>
            </a:r>
            <a:br>
              <a:rPr lang="en-US" sz="2800" spc="0" dirty="0">
                <a:solidFill>
                  <a:schemeClr val="bg1"/>
                </a:solidFill>
                <a:latin typeface="Titillium Web"/>
              </a:rPr>
            </a:br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56" name="Rectangle 20">
            <a:extLst>
              <a:ext uri="{FF2B5EF4-FFF2-40B4-BE49-F238E27FC236}">
                <a16:creationId xmlns:a16="http://schemas.microsoft.com/office/drawing/2014/main" xmlns="" id="{35243DD3-35C7-4641-81AE-B18CF3869EEF}"/>
              </a:ext>
            </a:extLst>
          </p:cNvPr>
          <p:cNvSpPr/>
          <p:nvPr/>
        </p:nvSpPr>
        <p:spPr>
          <a:xfrm>
            <a:off x="3154697" y="1555127"/>
            <a:ext cx="8552176" cy="4298458"/>
          </a:xfrm>
          <a:prstGeom prst="rect">
            <a:avLst/>
          </a:prstGeom>
          <a:solidFill>
            <a:srgbClr val="FFFFFF"/>
          </a:solidFill>
          <a:ln w="254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lvl="0">
              <a:defRPr/>
            </a:pPr>
            <a:r>
              <a:rPr lang="ru-RU" sz="3600" b="1" dirty="0" smtClean="0">
                <a:solidFill>
                  <a:srgbClr val="000000"/>
                </a:solidFill>
                <a:latin typeface="Calibri"/>
              </a:rPr>
              <a:t>Учет и контроль исполнения договоров</a:t>
            </a:r>
            <a:br>
              <a:rPr lang="ru-RU" sz="3600" b="1" dirty="0" smtClean="0">
                <a:solidFill>
                  <a:srgbClr val="000000"/>
                </a:solidFill>
                <a:latin typeface="Calibri"/>
              </a:rPr>
            </a:br>
            <a:r>
              <a:rPr lang="ru-RU" sz="2800" dirty="0" smtClean="0">
                <a:solidFill>
                  <a:srgbClr val="FFFFFF">
                    <a:lumMod val="50000"/>
                  </a:srgbClr>
                </a:solidFill>
                <a:latin typeface="Calibri"/>
              </a:rPr>
              <a:t>Вся информация по договорам в единой системе</a:t>
            </a:r>
            <a:endParaRPr lang="ru-RU" sz="2800" b="1" dirty="0">
              <a:solidFill>
                <a:srgbClr val="000000"/>
              </a:solidFill>
              <a:latin typeface="Calibri"/>
            </a:endParaRPr>
          </a:p>
          <a:p>
            <a:pPr lvl="0">
              <a:defRPr/>
            </a:pPr>
            <a:endParaRPr lang="ru-RU" sz="2800" b="1" dirty="0" smtClean="0">
              <a:solidFill>
                <a:srgbClr val="000000"/>
              </a:solidFill>
              <a:latin typeface="Calibri"/>
            </a:endParaRPr>
          </a:p>
          <a:p>
            <a:pPr lvl="0"/>
            <a:r>
              <a:rPr lang="ru-RU" sz="3600" b="1" dirty="0" smtClean="0">
                <a:solidFill>
                  <a:srgbClr val="000000"/>
                </a:solidFill>
                <a:latin typeface="Calibri"/>
              </a:rPr>
              <a:t>Информированность исполнителей</a:t>
            </a:r>
            <a:br>
              <a:rPr lang="ru-RU" sz="3600" b="1" dirty="0" smtClean="0">
                <a:solidFill>
                  <a:srgbClr val="000000"/>
                </a:solidFill>
                <a:latin typeface="Calibri"/>
              </a:rPr>
            </a:br>
            <a:r>
              <a:rPr lang="ru-RU" sz="2800" dirty="0" smtClean="0">
                <a:solidFill>
                  <a:srgbClr val="FFFFFF">
                    <a:lumMod val="50000"/>
                  </a:srgbClr>
                </a:solidFill>
                <a:latin typeface="Calibri"/>
              </a:rPr>
              <a:t>Статус исполнения платежей в режиме онлайн</a:t>
            </a:r>
            <a:endParaRPr lang="ru-RU" sz="2800" b="1" dirty="0">
              <a:solidFill>
                <a:srgbClr val="000000"/>
              </a:solidFill>
              <a:latin typeface="Calibri"/>
            </a:endParaRPr>
          </a:p>
          <a:p>
            <a:pPr lvl="0"/>
            <a:endParaRPr lang="ru-RU" sz="2800" b="1" dirty="0" smtClean="0">
              <a:solidFill>
                <a:srgbClr val="000000"/>
              </a:solidFill>
              <a:latin typeface="Calibri"/>
            </a:endParaRPr>
          </a:p>
          <a:p>
            <a:pPr lvl="0"/>
            <a:r>
              <a:rPr lang="ru-RU" sz="3600" b="1" dirty="0" smtClean="0">
                <a:solidFill>
                  <a:srgbClr val="000000"/>
                </a:solidFill>
                <a:latin typeface="Calibri"/>
              </a:rPr>
              <a:t>Качественное и своевременное исполнение платежей</a:t>
            </a:r>
          </a:p>
        </p:txBody>
      </p:sp>
      <p:pic>
        <p:nvPicPr>
          <p:cNvPr id="15" name="Picture 2" descr="https://st2.depositphotos.com/3746989/7523/i/950/depositphotos_75237463-stock-photo-people-in-the-shape-of.jpg"/>
          <p:cNvPicPr>
            <a:picLocks noChangeAspect="1" noChangeArrowheads="1"/>
          </p:cNvPicPr>
          <p:nvPr/>
        </p:nvPicPr>
        <p:blipFill rotWithShape="1">
          <a:blip r:embed="rId8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 rot="20226292">
            <a:off x="-1391116" y="1835642"/>
            <a:ext cx="3975391" cy="37374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8054816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6" grpId="0" uiExpand="1" build="p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79" name="Слайд think-cell" r:id="rId6" imgW="347" imgH="346" progId="TCLayout.ActiveDocument.1">
                  <p:embed/>
                </p:oleObj>
              </mc:Choice>
              <mc:Fallback>
                <p:oleObj name="Слайд think-cell" r:id="rId6" imgW="347" imgH="346" progId="TCLayout.ActiveDocument.1">
                  <p:embed/>
                  <p:pic>
                    <p:nvPicPr>
                      <p:cNvPr id="2" name="Объект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Прямоугольник 6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ru-RU" sz="2462" b="1" dirty="0">
              <a:latin typeface="Calibri" panose="020F0502020204030204" pitchFamily="34" charset="0"/>
              <a:ea typeface="+mj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3466341" y="159371"/>
            <a:ext cx="8240532" cy="527474"/>
          </a:xfrm>
        </p:spPr>
        <p:txBody>
          <a:bodyPr/>
          <a:lstStyle/>
          <a:p>
            <a:r>
              <a:rPr lang="ru-RU" sz="3600" dirty="0"/>
              <a:t>Результаты проекта в примерах</a:t>
            </a:r>
          </a:p>
        </p:txBody>
      </p:sp>
      <p:sp>
        <p:nvSpPr>
          <p:cNvPr id="6" name="Скругленный прямоугольник 5"/>
          <p:cNvSpPr/>
          <p:nvPr/>
        </p:nvSpPr>
        <p:spPr>
          <a:xfrm>
            <a:off x="412517" y="942392"/>
            <a:ext cx="11635967" cy="1041059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2800" b="1" dirty="0" smtClean="0">
                <a:solidFill>
                  <a:schemeClr val="tx1"/>
                </a:solidFill>
              </a:rPr>
              <a:t>                                 </a:t>
            </a:r>
            <a:r>
              <a:rPr lang="ru-RU" sz="3200" b="1" dirty="0" smtClean="0">
                <a:solidFill>
                  <a:schemeClr val="tx1"/>
                </a:solidFill>
              </a:rPr>
              <a:t>Единый Расчетный Центр</a:t>
            </a:r>
          </a:p>
          <a:p>
            <a:r>
              <a:rPr lang="ru-RU" sz="3200" dirty="0" smtClean="0">
                <a:solidFill>
                  <a:schemeClr val="bg1"/>
                </a:solidFill>
              </a:rPr>
              <a:t>                             </a:t>
            </a:r>
            <a:r>
              <a:rPr lang="ru-RU" sz="3200" b="1" dirty="0" smtClean="0">
                <a:solidFill>
                  <a:schemeClr val="tx1"/>
                </a:solidFill>
              </a:rPr>
              <a:t>2 филиала (Москва / Красноярск)</a:t>
            </a:r>
            <a:endParaRPr lang="ru-RU" sz="3200" b="1" dirty="0">
              <a:solidFill>
                <a:schemeClr val="tx1"/>
              </a:solidFill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8760789" y="3511937"/>
            <a:ext cx="3075856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4800" b="1" dirty="0" smtClean="0"/>
              <a:t>25</a:t>
            </a:r>
            <a:r>
              <a:rPr lang="ru-RU" sz="4000" b="1" dirty="0" smtClean="0"/>
              <a:t> </a:t>
            </a:r>
            <a:r>
              <a:rPr lang="ru-RU" sz="3200" b="1" dirty="0" smtClean="0"/>
              <a:t>человек</a:t>
            </a:r>
            <a:endParaRPr lang="ru-RU" sz="3200" b="1" dirty="0"/>
          </a:p>
        </p:txBody>
      </p:sp>
      <p:sp>
        <p:nvSpPr>
          <p:cNvPr id="14" name="Freeform 317"/>
          <p:cNvSpPr>
            <a:spLocks noEditPoints="1"/>
          </p:cNvSpPr>
          <p:nvPr/>
        </p:nvSpPr>
        <p:spPr bwMode="auto">
          <a:xfrm>
            <a:off x="9145125" y="2514635"/>
            <a:ext cx="1566818" cy="946323"/>
          </a:xfrm>
          <a:custGeom>
            <a:avLst/>
            <a:gdLst>
              <a:gd name="T0" fmla="*/ 289 w 854"/>
              <a:gd name="T1" fmla="*/ 240 h 440"/>
              <a:gd name="T2" fmla="*/ 202 w 854"/>
              <a:gd name="T3" fmla="*/ 202 h 440"/>
              <a:gd name="T4" fmla="*/ 173 w 854"/>
              <a:gd name="T5" fmla="*/ 343 h 440"/>
              <a:gd name="T6" fmla="*/ 212 w 854"/>
              <a:gd name="T7" fmla="*/ 287 h 440"/>
              <a:gd name="T8" fmla="*/ 97 w 854"/>
              <a:gd name="T9" fmla="*/ 202 h 440"/>
              <a:gd name="T10" fmla="*/ 9 w 854"/>
              <a:gd name="T11" fmla="*/ 243 h 440"/>
              <a:gd name="T12" fmla="*/ 127 w 854"/>
              <a:gd name="T13" fmla="*/ 343 h 440"/>
              <a:gd name="T14" fmla="*/ 97 w 854"/>
              <a:gd name="T15" fmla="*/ 202 h 440"/>
              <a:gd name="T16" fmla="*/ 130 w 854"/>
              <a:gd name="T17" fmla="*/ 237 h 440"/>
              <a:gd name="T18" fmla="*/ 135 w 854"/>
              <a:gd name="T19" fmla="*/ 343 h 440"/>
              <a:gd name="T20" fmla="*/ 164 w 854"/>
              <a:gd name="T21" fmla="*/ 343 h 440"/>
              <a:gd name="T22" fmla="*/ 169 w 854"/>
              <a:gd name="T23" fmla="*/ 237 h 440"/>
              <a:gd name="T24" fmla="*/ 116 w 854"/>
              <a:gd name="T25" fmla="*/ 180 h 440"/>
              <a:gd name="T26" fmla="*/ 150 w 854"/>
              <a:gd name="T27" fmla="*/ 219 h 440"/>
              <a:gd name="T28" fmla="*/ 183 w 854"/>
              <a:gd name="T29" fmla="*/ 180 h 440"/>
              <a:gd name="T30" fmla="*/ 207 w 854"/>
              <a:gd name="T31" fmla="*/ 101 h 440"/>
              <a:gd name="T32" fmla="*/ 92 w 854"/>
              <a:gd name="T33" fmla="*/ 101 h 440"/>
              <a:gd name="T34" fmla="*/ 116 w 854"/>
              <a:gd name="T35" fmla="*/ 180 h 440"/>
              <a:gd name="T36" fmla="*/ 830 w 854"/>
              <a:gd name="T37" fmla="*/ 228 h 440"/>
              <a:gd name="T38" fmla="*/ 766 w 854"/>
              <a:gd name="T39" fmla="*/ 234 h 440"/>
              <a:gd name="T40" fmla="*/ 724 w 854"/>
              <a:gd name="T41" fmla="*/ 320 h 440"/>
              <a:gd name="T42" fmla="*/ 854 w 854"/>
              <a:gd name="T43" fmla="*/ 329 h 440"/>
              <a:gd name="T44" fmla="*/ 749 w 854"/>
              <a:gd name="T45" fmla="*/ 186 h 440"/>
              <a:gd name="T46" fmla="*/ 796 w 854"/>
              <a:gd name="T47" fmla="*/ 164 h 440"/>
              <a:gd name="T48" fmla="*/ 721 w 854"/>
              <a:gd name="T49" fmla="*/ 36 h 440"/>
              <a:gd name="T50" fmla="*/ 662 w 854"/>
              <a:gd name="T51" fmla="*/ 95 h 440"/>
              <a:gd name="T52" fmla="*/ 689 w 854"/>
              <a:gd name="T53" fmla="*/ 182 h 440"/>
              <a:gd name="T54" fmla="*/ 681 w 854"/>
              <a:gd name="T55" fmla="*/ 201 h 440"/>
              <a:gd name="T56" fmla="*/ 757 w 854"/>
              <a:gd name="T57" fmla="*/ 201 h 440"/>
              <a:gd name="T58" fmla="*/ 672 w 854"/>
              <a:gd name="T59" fmla="*/ 234 h 440"/>
              <a:gd name="T60" fmla="*/ 608 w 854"/>
              <a:gd name="T61" fmla="*/ 228 h 440"/>
              <a:gd name="T62" fmla="*/ 593 w 854"/>
              <a:gd name="T63" fmla="*/ 248 h 440"/>
              <a:gd name="T64" fmla="*/ 648 w 854"/>
              <a:gd name="T65" fmla="*/ 287 h 440"/>
              <a:gd name="T66" fmla="*/ 719 w 854"/>
              <a:gd name="T67" fmla="*/ 345 h 440"/>
              <a:gd name="T68" fmla="*/ 658 w 854"/>
              <a:gd name="T69" fmla="*/ 245 h 440"/>
              <a:gd name="T70" fmla="*/ 430 w 854"/>
              <a:gd name="T71" fmla="*/ 263 h 440"/>
              <a:gd name="T72" fmla="*/ 419 w 854"/>
              <a:gd name="T73" fmla="*/ 310 h 440"/>
              <a:gd name="T74" fmla="*/ 427 w 854"/>
              <a:gd name="T75" fmla="*/ 440 h 440"/>
              <a:gd name="T76" fmla="*/ 441 w 854"/>
              <a:gd name="T77" fmla="*/ 310 h 440"/>
              <a:gd name="T78" fmla="*/ 430 w 854"/>
              <a:gd name="T79" fmla="*/ 263 h 440"/>
              <a:gd name="T80" fmla="*/ 379 w 854"/>
              <a:gd name="T81" fmla="*/ 213 h 440"/>
              <a:gd name="T82" fmla="*/ 481 w 854"/>
              <a:gd name="T83" fmla="*/ 213 h 440"/>
              <a:gd name="T84" fmla="*/ 478 w 854"/>
              <a:gd name="T85" fmla="*/ 186 h 440"/>
              <a:gd name="T86" fmla="*/ 430 w 854"/>
              <a:gd name="T87" fmla="*/ 0 h 440"/>
              <a:gd name="T88" fmla="*/ 382 w 854"/>
              <a:gd name="T89" fmla="*/ 186 h 440"/>
              <a:gd name="T90" fmla="*/ 354 w 854"/>
              <a:gd name="T91" fmla="*/ 233 h 440"/>
              <a:gd name="T92" fmla="*/ 249 w 854"/>
              <a:gd name="T93" fmla="*/ 269 h 440"/>
              <a:gd name="T94" fmla="*/ 219 w 854"/>
              <a:gd name="T95" fmla="*/ 340 h 440"/>
              <a:gd name="T96" fmla="*/ 397 w 854"/>
              <a:gd name="T97" fmla="*/ 439 h 440"/>
              <a:gd name="T98" fmla="*/ 354 w 854"/>
              <a:gd name="T99" fmla="*/ 233 h 440"/>
              <a:gd name="T100" fmla="*/ 612 w 854"/>
              <a:gd name="T101" fmla="*/ 269 h 440"/>
              <a:gd name="T102" fmla="*/ 506 w 854"/>
              <a:gd name="T103" fmla="*/ 233 h 440"/>
              <a:gd name="T104" fmla="*/ 464 w 854"/>
              <a:gd name="T105" fmla="*/ 439 h 440"/>
              <a:gd name="T106" fmla="*/ 641 w 854"/>
              <a:gd name="T107" fmla="*/ 340 h 4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854" h="440">
                <a:moveTo>
                  <a:pt x="243" y="256"/>
                </a:moveTo>
                <a:cubicBezTo>
                  <a:pt x="250" y="254"/>
                  <a:pt x="269" y="247"/>
                  <a:pt x="289" y="240"/>
                </a:cubicBezTo>
                <a:cubicBezTo>
                  <a:pt x="286" y="235"/>
                  <a:pt x="282" y="230"/>
                  <a:pt x="274" y="227"/>
                </a:cubicBezTo>
                <a:cubicBezTo>
                  <a:pt x="264" y="223"/>
                  <a:pt x="208" y="204"/>
                  <a:pt x="202" y="202"/>
                </a:cubicBezTo>
                <a:cubicBezTo>
                  <a:pt x="198" y="201"/>
                  <a:pt x="195" y="199"/>
                  <a:pt x="193" y="198"/>
                </a:cubicBezTo>
                <a:cubicBezTo>
                  <a:pt x="173" y="343"/>
                  <a:pt x="173" y="343"/>
                  <a:pt x="173" y="343"/>
                </a:cubicBezTo>
                <a:cubicBezTo>
                  <a:pt x="184" y="343"/>
                  <a:pt x="195" y="342"/>
                  <a:pt x="204" y="341"/>
                </a:cubicBezTo>
                <a:cubicBezTo>
                  <a:pt x="209" y="293"/>
                  <a:pt x="211" y="290"/>
                  <a:pt x="212" y="287"/>
                </a:cubicBezTo>
                <a:cubicBezTo>
                  <a:pt x="218" y="272"/>
                  <a:pt x="228" y="262"/>
                  <a:pt x="243" y="256"/>
                </a:cubicBezTo>
                <a:close/>
                <a:moveTo>
                  <a:pt x="97" y="202"/>
                </a:moveTo>
                <a:cubicBezTo>
                  <a:pt x="91" y="204"/>
                  <a:pt x="35" y="223"/>
                  <a:pt x="25" y="227"/>
                </a:cubicBezTo>
                <a:cubicBezTo>
                  <a:pt x="15" y="231"/>
                  <a:pt x="11" y="237"/>
                  <a:pt x="9" y="243"/>
                </a:cubicBezTo>
                <a:cubicBezTo>
                  <a:pt x="7" y="248"/>
                  <a:pt x="0" y="325"/>
                  <a:pt x="0" y="325"/>
                </a:cubicBezTo>
                <a:cubicBezTo>
                  <a:pt x="0" y="325"/>
                  <a:pt x="40" y="341"/>
                  <a:pt x="127" y="343"/>
                </a:cubicBezTo>
                <a:cubicBezTo>
                  <a:pt x="106" y="198"/>
                  <a:pt x="106" y="198"/>
                  <a:pt x="106" y="198"/>
                </a:cubicBezTo>
                <a:cubicBezTo>
                  <a:pt x="104" y="199"/>
                  <a:pt x="101" y="201"/>
                  <a:pt x="97" y="202"/>
                </a:cubicBezTo>
                <a:close/>
                <a:moveTo>
                  <a:pt x="150" y="222"/>
                </a:moveTo>
                <a:cubicBezTo>
                  <a:pt x="130" y="237"/>
                  <a:pt x="130" y="237"/>
                  <a:pt x="130" y="237"/>
                </a:cubicBezTo>
                <a:cubicBezTo>
                  <a:pt x="142" y="255"/>
                  <a:pt x="142" y="255"/>
                  <a:pt x="142" y="255"/>
                </a:cubicBezTo>
                <a:cubicBezTo>
                  <a:pt x="135" y="343"/>
                  <a:pt x="135" y="343"/>
                  <a:pt x="135" y="343"/>
                </a:cubicBezTo>
                <a:cubicBezTo>
                  <a:pt x="139" y="343"/>
                  <a:pt x="143" y="344"/>
                  <a:pt x="147" y="344"/>
                </a:cubicBezTo>
                <a:cubicBezTo>
                  <a:pt x="153" y="344"/>
                  <a:pt x="159" y="343"/>
                  <a:pt x="164" y="343"/>
                </a:cubicBezTo>
                <a:cubicBezTo>
                  <a:pt x="157" y="255"/>
                  <a:pt x="157" y="255"/>
                  <a:pt x="157" y="255"/>
                </a:cubicBezTo>
                <a:cubicBezTo>
                  <a:pt x="169" y="237"/>
                  <a:pt x="169" y="237"/>
                  <a:pt x="169" y="237"/>
                </a:cubicBezTo>
                <a:lnTo>
                  <a:pt x="150" y="222"/>
                </a:lnTo>
                <a:close/>
                <a:moveTo>
                  <a:pt x="116" y="180"/>
                </a:moveTo>
                <a:cubicBezTo>
                  <a:pt x="116" y="183"/>
                  <a:pt x="116" y="186"/>
                  <a:pt x="115" y="189"/>
                </a:cubicBezTo>
                <a:cubicBezTo>
                  <a:pt x="117" y="191"/>
                  <a:pt x="131" y="206"/>
                  <a:pt x="150" y="219"/>
                </a:cubicBezTo>
                <a:cubicBezTo>
                  <a:pt x="168" y="206"/>
                  <a:pt x="182" y="192"/>
                  <a:pt x="185" y="189"/>
                </a:cubicBezTo>
                <a:cubicBezTo>
                  <a:pt x="183" y="186"/>
                  <a:pt x="183" y="183"/>
                  <a:pt x="183" y="180"/>
                </a:cubicBezTo>
                <a:cubicBezTo>
                  <a:pt x="183" y="170"/>
                  <a:pt x="183" y="170"/>
                  <a:pt x="183" y="170"/>
                </a:cubicBezTo>
                <a:cubicBezTo>
                  <a:pt x="197" y="151"/>
                  <a:pt x="207" y="122"/>
                  <a:pt x="207" y="101"/>
                </a:cubicBezTo>
                <a:cubicBezTo>
                  <a:pt x="207" y="66"/>
                  <a:pt x="181" y="43"/>
                  <a:pt x="150" y="43"/>
                </a:cubicBezTo>
                <a:cubicBezTo>
                  <a:pt x="118" y="43"/>
                  <a:pt x="92" y="66"/>
                  <a:pt x="92" y="101"/>
                </a:cubicBezTo>
                <a:cubicBezTo>
                  <a:pt x="92" y="122"/>
                  <a:pt x="102" y="151"/>
                  <a:pt x="116" y="170"/>
                </a:cubicBezTo>
                <a:lnTo>
                  <a:pt x="116" y="180"/>
                </a:lnTo>
                <a:close/>
                <a:moveTo>
                  <a:pt x="844" y="242"/>
                </a:moveTo>
                <a:cubicBezTo>
                  <a:pt x="842" y="237"/>
                  <a:pt x="839" y="232"/>
                  <a:pt x="830" y="228"/>
                </a:cubicBezTo>
                <a:cubicBezTo>
                  <a:pt x="823" y="226"/>
                  <a:pt x="797" y="217"/>
                  <a:pt x="780" y="211"/>
                </a:cubicBezTo>
                <a:cubicBezTo>
                  <a:pt x="766" y="234"/>
                  <a:pt x="766" y="234"/>
                  <a:pt x="766" y="234"/>
                </a:cubicBezTo>
                <a:cubicBezTo>
                  <a:pt x="780" y="245"/>
                  <a:pt x="780" y="245"/>
                  <a:pt x="780" y="245"/>
                </a:cubicBezTo>
                <a:cubicBezTo>
                  <a:pt x="724" y="320"/>
                  <a:pt x="724" y="320"/>
                  <a:pt x="724" y="320"/>
                </a:cubicBezTo>
                <a:cubicBezTo>
                  <a:pt x="724" y="345"/>
                  <a:pt x="724" y="345"/>
                  <a:pt x="724" y="345"/>
                </a:cubicBezTo>
                <a:cubicBezTo>
                  <a:pt x="767" y="345"/>
                  <a:pt x="816" y="339"/>
                  <a:pt x="854" y="329"/>
                </a:cubicBezTo>
                <a:cubicBezTo>
                  <a:pt x="853" y="288"/>
                  <a:pt x="845" y="243"/>
                  <a:pt x="844" y="242"/>
                </a:cubicBezTo>
                <a:close/>
                <a:moveTo>
                  <a:pt x="749" y="186"/>
                </a:moveTo>
                <a:cubicBezTo>
                  <a:pt x="749" y="183"/>
                  <a:pt x="749" y="183"/>
                  <a:pt x="749" y="183"/>
                </a:cubicBezTo>
                <a:cubicBezTo>
                  <a:pt x="764" y="181"/>
                  <a:pt x="783" y="176"/>
                  <a:pt x="796" y="164"/>
                </a:cubicBezTo>
                <a:cubicBezTo>
                  <a:pt x="796" y="164"/>
                  <a:pt x="780" y="143"/>
                  <a:pt x="780" y="95"/>
                </a:cubicBezTo>
                <a:cubicBezTo>
                  <a:pt x="780" y="61"/>
                  <a:pt x="760" y="37"/>
                  <a:pt x="721" y="36"/>
                </a:cubicBezTo>
                <a:cubicBezTo>
                  <a:pt x="721" y="36"/>
                  <a:pt x="721" y="36"/>
                  <a:pt x="721" y="36"/>
                </a:cubicBezTo>
                <a:cubicBezTo>
                  <a:pt x="682" y="37"/>
                  <a:pt x="662" y="61"/>
                  <a:pt x="662" y="95"/>
                </a:cubicBezTo>
                <a:cubicBezTo>
                  <a:pt x="662" y="143"/>
                  <a:pt x="645" y="164"/>
                  <a:pt x="645" y="164"/>
                </a:cubicBezTo>
                <a:cubicBezTo>
                  <a:pt x="658" y="175"/>
                  <a:pt x="675" y="180"/>
                  <a:pt x="689" y="182"/>
                </a:cubicBezTo>
                <a:cubicBezTo>
                  <a:pt x="689" y="186"/>
                  <a:pt x="689" y="186"/>
                  <a:pt x="689" y="186"/>
                </a:cubicBezTo>
                <a:cubicBezTo>
                  <a:pt x="689" y="192"/>
                  <a:pt x="687" y="197"/>
                  <a:pt x="681" y="201"/>
                </a:cubicBezTo>
                <a:cubicBezTo>
                  <a:pt x="722" y="314"/>
                  <a:pt x="722" y="314"/>
                  <a:pt x="722" y="314"/>
                </a:cubicBezTo>
                <a:cubicBezTo>
                  <a:pt x="757" y="201"/>
                  <a:pt x="757" y="201"/>
                  <a:pt x="757" y="201"/>
                </a:cubicBezTo>
                <a:cubicBezTo>
                  <a:pt x="751" y="197"/>
                  <a:pt x="749" y="192"/>
                  <a:pt x="749" y="186"/>
                </a:cubicBezTo>
                <a:close/>
                <a:moveTo>
                  <a:pt x="672" y="234"/>
                </a:moveTo>
                <a:cubicBezTo>
                  <a:pt x="658" y="211"/>
                  <a:pt x="658" y="211"/>
                  <a:pt x="658" y="211"/>
                </a:cubicBezTo>
                <a:cubicBezTo>
                  <a:pt x="641" y="217"/>
                  <a:pt x="615" y="226"/>
                  <a:pt x="608" y="228"/>
                </a:cubicBezTo>
                <a:cubicBezTo>
                  <a:pt x="599" y="232"/>
                  <a:pt x="596" y="237"/>
                  <a:pt x="594" y="242"/>
                </a:cubicBezTo>
                <a:cubicBezTo>
                  <a:pt x="594" y="242"/>
                  <a:pt x="593" y="244"/>
                  <a:pt x="593" y="248"/>
                </a:cubicBezTo>
                <a:cubicBezTo>
                  <a:pt x="604" y="252"/>
                  <a:pt x="613" y="255"/>
                  <a:pt x="617" y="256"/>
                </a:cubicBezTo>
                <a:cubicBezTo>
                  <a:pt x="632" y="262"/>
                  <a:pt x="642" y="272"/>
                  <a:pt x="648" y="287"/>
                </a:cubicBezTo>
                <a:cubicBezTo>
                  <a:pt x="649" y="290"/>
                  <a:pt x="651" y="293"/>
                  <a:pt x="656" y="341"/>
                </a:cubicBezTo>
                <a:cubicBezTo>
                  <a:pt x="677" y="344"/>
                  <a:pt x="699" y="345"/>
                  <a:pt x="719" y="345"/>
                </a:cubicBezTo>
                <a:cubicBezTo>
                  <a:pt x="719" y="320"/>
                  <a:pt x="719" y="320"/>
                  <a:pt x="719" y="320"/>
                </a:cubicBezTo>
                <a:cubicBezTo>
                  <a:pt x="658" y="245"/>
                  <a:pt x="658" y="245"/>
                  <a:pt x="658" y="245"/>
                </a:cubicBezTo>
                <a:lnTo>
                  <a:pt x="672" y="234"/>
                </a:lnTo>
                <a:close/>
                <a:moveTo>
                  <a:pt x="430" y="263"/>
                </a:moveTo>
                <a:cubicBezTo>
                  <a:pt x="401" y="284"/>
                  <a:pt x="401" y="284"/>
                  <a:pt x="401" y="284"/>
                </a:cubicBezTo>
                <a:cubicBezTo>
                  <a:pt x="419" y="310"/>
                  <a:pt x="419" y="310"/>
                  <a:pt x="419" y="310"/>
                </a:cubicBezTo>
                <a:cubicBezTo>
                  <a:pt x="409" y="439"/>
                  <a:pt x="409" y="439"/>
                  <a:pt x="409" y="439"/>
                </a:cubicBezTo>
                <a:cubicBezTo>
                  <a:pt x="415" y="440"/>
                  <a:pt x="421" y="440"/>
                  <a:pt x="427" y="440"/>
                </a:cubicBezTo>
                <a:cubicBezTo>
                  <a:pt x="435" y="440"/>
                  <a:pt x="443" y="440"/>
                  <a:pt x="451" y="439"/>
                </a:cubicBezTo>
                <a:cubicBezTo>
                  <a:pt x="441" y="310"/>
                  <a:pt x="441" y="310"/>
                  <a:pt x="441" y="310"/>
                </a:cubicBezTo>
                <a:cubicBezTo>
                  <a:pt x="459" y="284"/>
                  <a:pt x="459" y="284"/>
                  <a:pt x="459" y="284"/>
                </a:cubicBezTo>
                <a:lnTo>
                  <a:pt x="430" y="263"/>
                </a:lnTo>
                <a:close/>
                <a:moveTo>
                  <a:pt x="382" y="200"/>
                </a:moveTo>
                <a:cubicBezTo>
                  <a:pt x="382" y="205"/>
                  <a:pt x="381" y="209"/>
                  <a:pt x="379" y="213"/>
                </a:cubicBezTo>
                <a:cubicBezTo>
                  <a:pt x="383" y="217"/>
                  <a:pt x="403" y="239"/>
                  <a:pt x="430" y="257"/>
                </a:cubicBezTo>
                <a:cubicBezTo>
                  <a:pt x="457" y="239"/>
                  <a:pt x="477" y="218"/>
                  <a:pt x="481" y="213"/>
                </a:cubicBezTo>
                <a:cubicBezTo>
                  <a:pt x="479" y="209"/>
                  <a:pt x="478" y="205"/>
                  <a:pt x="478" y="200"/>
                </a:cubicBezTo>
                <a:cubicBezTo>
                  <a:pt x="478" y="186"/>
                  <a:pt x="478" y="186"/>
                  <a:pt x="478" y="186"/>
                </a:cubicBezTo>
                <a:cubicBezTo>
                  <a:pt x="500" y="158"/>
                  <a:pt x="514" y="115"/>
                  <a:pt x="514" y="84"/>
                </a:cubicBezTo>
                <a:cubicBezTo>
                  <a:pt x="514" y="34"/>
                  <a:pt x="476" y="0"/>
                  <a:pt x="430" y="0"/>
                </a:cubicBezTo>
                <a:cubicBezTo>
                  <a:pt x="384" y="0"/>
                  <a:pt x="346" y="34"/>
                  <a:pt x="346" y="84"/>
                </a:cubicBezTo>
                <a:cubicBezTo>
                  <a:pt x="346" y="115"/>
                  <a:pt x="360" y="158"/>
                  <a:pt x="382" y="186"/>
                </a:cubicBezTo>
                <a:lnTo>
                  <a:pt x="382" y="200"/>
                </a:lnTo>
                <a:close/>
                <a:moveTo>
                  <a:pt x="354" y="233"/>
                </a:moveTo>
                <a:cubicBezTo>
                  <a:pt x="349" y="235"/>
                  <a:pt x="319" y="245"/>
                  <a:pt x="292" y="254"/>
                </a:cubicBezTo>
                <a:cubicBezTo>
                  <a:pt x="272" y="261"/>
                  <a:pt x="255" y="267"/>
                  <a:pt x="249" y="269"/>
                </a:cubicBezTo>
                <a:cubicBezTo>
                  <a:pt x="234" y="275"/>
                  <a:pt x="228" y="284"/>
                  <a:pt x="225" y="292"/>
                </a:cubicBezTo>
                <a:cubicBezTo>
                  <a:pt x="223" y="296"/>
                  <a:pt x="221" y="317"/>
                  <a:pt x="219" y="340"/>
                </a:cubicBezTo>
                <a:cubicBezTo>
                  <a:pt x="215" y="374"/>
                  <a:pt x="212" y="413"/>
                  <a:pt x="212" y="413"/>
                </a:cubicBezTo>
                <a:cubicBezTo>
                  <a:pt x="212" y="413"/>
                  <a:pt x="269" y="436"/>
                  <a:pt x="397" y="439"/>
                </a:cubicBezTo>
                <a:cubicBezTo>
                  <a:pt x="367" y="226"/>
                  <a:pt x="367" y="226"/>
                  <a:pt x="367" y="226"/>
                </a:cubicBezTo>
                <a:cubicBezTo>
                  <a:pt x="363" y="229"/>
                  <a:pt x="359" y="231"/>
                  <a:pt x="354" y="233"/>
                </a:cubicBezTo>
                <a:close/>
                <a:moveTo>
                  <a:pt x="635" y="292"/>
                </a:moveTo>
                <a:cubicBezTo>
                  <a:pt x="632" y="284"/>
                  <a:pt x="626" y="275"/>
                  <a:pt x="612" y="269"/>
                </a:cubicBezTo>
                <a:cubicBezTo>
                  <a:pt x="608" y="268"/>
                  <a:pt x="600" y="265"/>
                  <a:pt x="590" y="262"/>
                </a:cubicBezTo>
                <a:cubicBezTo>
                  <a:pt x="561" y="251"/>
                  <a:pt x="513" y="235"/>
                  <a:pt x="506" y="233"/>
                </a:cubicBezTo>
                <a:cubicBezTo>
                  <a:pt x="501" y="231"/>
                  <a:pt x="497" y="229"/>
                  <a:pt x="493" y="226"/>
                </a:cubicBezTo>
                <a:cubicBezTo>
                  <a:pt x="464" y="439"/>
                  <a:pt x="464" y="439"/>
                  <a:pt x="464" y="439"/>
                </a:cubicBezTo>
                <a:cubicBezTo>
                  <a:pt x="588" y="435"/>
                  <a:pt x="648" y="413"/>
                  <a:pt x="648" y="413"/>
                </a:cubicBezTo>
                <a:cubicBezTo>
                  <a:pt x="648" y="413"/>
                  <a:pt x="645" y="374"/>
                  <a:pt x="641" y="340"/>
                </a:cubicBezTo>
                <a:cubicBezTo>
                  <a:pt x="639" y="316"/>
                  <a:pt x="637" y="296"/>
                  <a:pt x="635" y="292"/>
                </a:cubicBezTo>
                <a:close/>
              </a:path>
            </a:pathLst>
          </a:custGeom>
          <a:solidFill>
            <a:srgbClr val="FFC000"/>
          </a:solidFill>
          <a:ln>
            <a:noFill/>
          </a:ln>
          <a:extLst/>
        </p:spPr>
        <p:txBody>
          <a:bodyPr vert="horz" wrap="square" lIns="72809" tIns="36405" rIns="72809" bIns="36405" numCol="1" anchor="t" anchorCtr="0" compatLnSpc="1">
            <a:prstTxWarp prst="textNoShape">
              <a:avLst/>
            </a:prstTxWarp>
          </a:bodyPr>
          <a:lstStyle/>
          <a:p>
            <a:endParaRPr lang="ru-RU" sz="1400" dirty="0">
              <a:solidFill>
                <a:prstClr val="black"/>
              </a:solidFill>
            </a:endParaRPr>
          </a:p>
        </p:txBody>
      </p:sp>
      <p:sp>
        <p:nvSpPr>
          <p:cNvPr id="47" name="TextBox 46"/>
          <p:cNvSpPr txBox="1"/>
          <p:nvPr/>
        </p:nvSpPr>
        <p:spPr>
          <a:xfrm>
            <a:off x="8123918" y="5278764"/>
            <a:ext cx="3582955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4400" b="1" dirty="0" smtClean="0"/>
              <a:t>13 000</a:t>
            </a:r>
          </a:p>
          <a:p>
            <a:pPr algn="ctr"/>
            <a:r>
              <a:rPr lang="ru-RU" sz="2400" b="1" dirty="0" smtClean="0"/>
              <a:t> </a:t>
            </a:r>
            <a:r>
              <a:rPr lang="ru-RU" sz="2800" b="1" dirty="0" smtClean="0"/>
              <a:t>платежей в месяц</a:t>
            </a:r>
            <a:endParaRPr lang="ru-RU" sz="2800" b="1" dirty="0"/>
          </a:p>
        </p:txBody>
      </p:sp>
      <p:grpSp>
        <p:nvGrpSpPr>
          <p:cNvPr id="48" name="Group 380"/>
          <p:cNvGrpSpPr/>
          <p:nvPr/>
        </p:nvGrpSpPr>
        <p:grpSpPr>
          <a:xfrm>
            <a:off x="9532073" y="4470400"/>
            <a:ext cx="1052800" cy="814805"/>
            <a:chOff x="7132638" y="4124325"/>
            <a:chExt cx="865187" cy="915987"/>
          </a:xfrm>
          <a:solidFill>
            <a:srgbClr val="FFC000"/>
          </a:solidFill>
        </p:grpSpPr>
        <p:sp>
          <p:nvSpPr>
            <p:cNvPr id="49" name="Freeform 381"/>
            <p:cNvSpPr>
              <a:spLocks/>
            </p:cNvSpPr>
            <p:nvPr/>
          </p:nvSpPr>
          <p:spPr bwMode="auto">
            <a:xfrm>
              <a:off x="7132638" y="4124325"/>
              <a:ext cx="865187" cy="525462"/>
            </a:xfrm>
            <a:custGeom>
              <a:avLst/>
              <a:gdLst>
                <a:gd name="T0" fmla="*/ 778 w 780"/>
                <a:gd name="T1" fmla="*/ 228 h 473"/>
                <a:gd name="T2" fmla="*/ 768 w 780"/>
                <a:gd name="T3" fmla="*/ 216 h 473"/>
                <a:gd name="T4" fmla="*/ 401 w 780"/>
                <a:gd name="T5" fmla="*/ 4 h 473"/>
                <a:gd name="T6" fmla="*/ 390 w 780"/>
                <a:gd name="T7" fmla="*/ 0 h 473"/>
                <a:gd name="T8" fmla="*/ 379 w 780"/>
                <a:gd name="T9" fmla="*/ 4 h 473"/>
                <a:gd name="T10" fmla="*/ 12 w 780"/>
                <a:gd name="T11" fmla="*/ 216 h 473"/>
                <a:gd name="T12" fmla="*/ 2 w 780"/>
                <a:gd name="T13" fmla="*/ 228 h 473"/>
                <a:gd name="T14" fmla="*/ 2 w 780"/>
                <a:gd name="T15" fmla="*/ 243 h 473"/>
                <a:gd name="T16" fmla="*/ 12 w 780"/>
                <a:gd name="T17" fmla="*/ 255 h 473"/>
                <a:gd name="T18" fmla="*/ 379 w 780"/>
                <a:gd name="T19" fmla="*/ 468 h 473"/>
                <a:gd name="T20" fmla="*/ 384 w 780"/>
                <a:gd name="T21" fmla="*/ 470 h 473"/>
                <a:gd name="T22" fmla="*/ 390 w 780"/>
                <a:gd name="T23" fmla="*/ 473 h 473"/>
                <a:gd name="T24" fmla="*/ 396 w 780"/>
                <a:gd name="T25" fmla="*/ 470 h 473"/>
                <a:gd name="T26" fmla="*/ 401 w 780"/>
                <a:gd name="T27" fmla="*/ 468 h 473"/>
                <a:gd name="T28" fmla="*/ 768 w 780"/>
                <a:gd name="T29" fmla="*/ 255 h 473"/>
                <a:gd name="T30" fmla="*/ 778 w 780"/>
                <a:gd name="T31" fmla="*/ 243 h 473"/>
                <a:gd name="T32" fmla="*/ 778 w 780"/>
                <a:gd name="T33" fmla="*/ 228 h 4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80" h="473">
                  <a:moveTo>
                    <a:pt x="778" y="228"/>
                  </a:moveTo>
                  <a:cubicBezTo>
                    <a:pt x="776" y="223"/>
                    <a:pt x="773" y="219"/>
                    <a:pt x="768" y="216"/>
                  </a:cubicBezTo>
                  <a:cubicBezTo>
                    <a:pt x="401" y="4"/>
                    <a:pt x="401" y="4"/>
                    <a:pt x="401" y="4"/>
                  </a:cubicBezTo>
                  <a:cubicBezTo>
                    <a:pt x="398" y="1"/>
                    <a:pt x="394" y="0"/>
                    <a:pt x="390" y="0"/>
                  </a:cubicBezTo>
                  <a:cubicBezTo>
                    <a:pt x="386" y="0"/>
                    <a:pt x="382" y="1"/>
                    <a:pt x="379" y="4"/>
                  </a:cubicBezTo>
                  <a:cubicBezTo>
                    <a:pt x="12" y="216"/>
                    <a:pt x="12" y="216"/>
                    <a:pt x="12" y="216"/>
                  </a:cubicBezTo>
                  <a:cubicBezTo>
                    <a:pt x="7" y="219"/>
                    <a:pt x="4" y="223"/>
                    <a:pt x="2" y="228"/>
                  </a:cubicBezTo>
                  <a:cubicBezTo>
                    <a:pt x="0" y="233"/>
                    <a:pt x="0" y="238"/>
                    <a:pt x="2" y="243"/>
                  </a:cubicBezTo>
                  <a:cubicBezTo>
                    <a:pt x="4" y="248"/>
                    <a:pt x="7" y="252"/>
                    <a:pt x="12" y="255"/>
                  </a:cubicBezTo>
                  <a:cubicBezTo>
                    <a:pt x="379" y="468"/>
                    <a:pt x="379" y="468"/>
                    <a:pt x="379" y="468"/>
                  </a:cubicBezTo>
                  <a:cubicBezTo>
                    <a:pt x="380" y="468"/>
                    <a:pt x="382" y="469"/>
                    <a:pt x="384" y="470"/>
                  </a:cubicBezTo>
                  <a:cubicBezTo>
                    <a:pt x="390" y="473"/>
                    <a:pt x="390" y="473"/>
                    <a:pt x="390" y="473"/>
                  </a:cubicBezTo>
                  <a:cubicBezTo>
                    <a:pt x="396" y="470"/>
                    <a:pt x="396" y="470"/>
                    <a:pt x="396" y="470"/>
                  </a:cubicBezTo>
                  <a:cubicBezTo>
                    <a:pt x="398" y="469"/>
                    <a:pt x="400" y="468"/>
                    <a:pt x="401" y="468"/>
                  </a:cubicBezTo>
                  <a:cubicBezTo>
                    <a:pt x="768" y="255"/>
                    <a:pt x="768" y="255"/>
                    <a:pt x="768" y="255"/>
                  </a:cubicBezTo>
                  <a:cubicBezTo>
                    <a:pt x="773" y="252"/>
                    <a:pt x="776" y="248"/>
                    <a:pt x="778" y="243"/>
                  </a:cubicBezTo>
                  <a:cubicBezTo>
                    <a:pt x="780" y="238"/>
                    <a:pt x="780" y="233"/>
                    <a:pt x="778" y="2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000">
                <a:solidFill>
                  <a:srgbClr val="000000"/>
                </a:solidFill>
              </a:endParaRPr>
            </a:p>
          </p:txBody>
        </p:sp>
        <p:sp>
          <p:nvSpPr>
            <p:cNvPr id="50" name="Freeform 382"/>
            <p:cNvSpPr>
              <a:spLocks/>
            </p:cNvSpPr>
            <p:nvPr/>
          </p:nvSpPr>
          <p:spPr bwMode="auto">
            <a:xfrm>
              <a:off x="7132638" y="4513263"/>
              <a:ext cx="865187" cy="328612"/>
            </a:xfrm>
            <a:custGeom>
              <a:avLst/>
              <a:gdLst>
                <a:gd name="T0" fmla="*/ 12 w 780"/>
                <a:gd name="T1" fmla="*/ 82 h 296"/>
                <a:gd name="T2" fmla="*/ 379 w 780"/>
                <a:gd name="T3" fmla="*/ 294 h 296"/>
                <a:gd name="T4" fmla="*/ 390 w 780"/>
                <a:gd name="T5" fmla="*/ 296 h 296"/>
                <a:gd name="T6" fmla="*/ 401 w 780"/>
                <a:gd name="T7" fmla="*/ 294 h 296"/>
                <a:gd name="T8" fmla="*/ 768 w 780"/>
                <a:gd name="T9" fmla="*/ 82 h 296"/>
                <a:gd name="T10" fmla="*/ 778 w 780"/>
                <a:gd name="T11" fmla="*/ 70 h 296"/>
                <a:gd name="T12" fmla="*/ 778 w 780"/>
                <a:gd name="T13" fmla="*/ 54 h 296"/>
                <a:gd name="T14" fmla="*/ 768 w 780"/>
                <a:gd name="T15" fmla="*/ 42 h 296"/>
                <a:gd name="T16" fmla="*/ 695 w 780"/>
                <a:gd name="T17" fmla="*/ 0 h 296"/>
                <a:gd name="T18" fmla="*/ 413 w 780"/>
                <a:gd name="T19" fmla="*/ 163 h 296"/>
                <a:gd name="T20" fmla="*/ 390 w 780"/>
                <a:gd name="T21" fmla="*/ 168 h 296"/>
                <a:gd name="T22" fmla="*/ 368 w 780"/>
                <a:gd name="T23" fmla="*/ 163 h 296"/>
                <a:gd name="T24" fmla="*/ 367 w 780"/>
                <a:gd name="T25" fmla="*/ 163 h 296"/>
                <a:gd name="T26" fmla="*/ 86 w 780"/>
                <a:gd name="T27" fmla="*/ 0 h 296"/>
                <a:gd name="T28" fmla="*/ 12 w 780"/>
                <a:gd name="T29" fmla="*/ 42 h 296"/>
                <a:gd name="T30" fmla="*/ 2 w 780"/>
                <a:gd name="T31" fmla="*/ 54 h 296"/>
                <a:gd name="T32" fmla="*/ 2 w 780"/>
                <a:gd name="T33" fmla="*/ 70 h 296"/>
                <a:gd name="T34" fmla="*/ 12 w 780"/>
                <a:gd name="T35" fmla="*/ 82 h 2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0" h="296">
                  <a:moveTo>
                    <a:pt x="12" y="82"/>
                  </a:moveTo>
                  <a:cubicBezTo>
                    <a:pt x="379" y="294"/>
                    <a:pt x="379" y="294"/>
                    <a:pt x="379" y="294"/>
                  </a:cubicBezTo>
                  <a:cubicBezTo>
                    <a:pt x="382" y="295"/>
                    <a:pt x="386" y="296"/>
                    <a:pt x="390" y="296"/>
                  </a:cubicBezTo>
                  <a:cubicBezTo>
                    <a:pt x="394" y="296"/>
                    <a:pt x="398" y="295"/>
                    <a:pt x="401" y="294"/>
                  </a:cubicBezTo>
                  <a:cubicBezTo>
                    <a:pt x="768" y="82"/>
                    <a:pt x="768" y="82"/>
                    <a:pt x="768" y="82"/>
                  </a:cubicBezTo>
                  <a:cubicBezTo>
                    <a:pt x="773" y="78"/>
                    <a:pt x="776" y="74"/>
                    <a:pt x="778" y="70"/>
                  </a:cubicBezTo>
                  <a:cubicBezTo>
                    <a:pt x="780" y="64"/>
                    <a:pt x="780" y="59"/>
                    <a:pt x="778" y="54"/>
                  </a:cubicBezTo>
                  <a:cubicBezTo>
                    <a:pt x="776" y="49"/>
                    <a:pt x="773" y="45"/>
                    <a:pt x="768" y="42"/>
                  </a:cubicBezTo>
                  <a:cubicBezTo>
                    <a:pt x="695" y="0"/>
                    <a:pt x="695" y="0"/>
                    <a:pt x="695" y="0"/>
                  </a:cubicBezTo>
                  <a:cubicBezTo>
                    <a:pt x="413" y="163"/>
                    <a:pt x="413" y="163"/>
                    <a:pt x="413" y="163"/>
                  </a:cubicBezTo>
                  <a:cubicBezTo>
                    <a:pt x="406" y="167"/>
                    <a:pt x="398" y="168"/>
                    <a:pt x="390" y="168"/>
                  </a:cubicBezTo>
                  <a:cubicBezTo>
                    <a:pt x="382" y="168"/>
                    <a:pt x="374" y="167"/>
                    <a:pt x="368" y="163"/>
                  </a:cubicBezTo>
                  <a:cubicBezTo>
                    <a:pt x="367" y="163"/>
                    <a:pt x="367" y="163"/>
                    <a:pt x="367" y="163"/>
                  </a:cubicBezTo>
                  <a:cubicBezTo>
                    <a:pt x="86" y="0"/>
                    <a:pt x="86" y="0"/>
                    <a:pt x="86" y="0"/>
                  </a:cubicBezTo>
                  <a:cubicBezTo>
                    <a:pt x="12" y="42"/>
                    <a:pt x="12" y="42"/>
                    <a:pt x="12" y="42"/>
                  </a:cubicBezTo>
                  <a:cubicBezTo>
                    <a:pt x="7" y="45"/>
                    <a:pt x="4" y="49"/>
                    <a:pt x="2" y="54"/>
                  </a:cubicBezTo>
                  <a:cubicBezTo>
                    <a:pt x="0" y="59"/>
                    <a:pt x="0" y="64"/>
                    <a:pt x="2" y="70"/>
                  </a:cubicBezTo>
                  <a:cubicBezTo>
                    <a:pt x="4" y="74"/>
                    <a:pt x="7" y="78"/>
                    <a:pt x="12" y="8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000">
                <a:solidFill>
                  <a:srgbClr val="000000"/>
                </a:solidFill>
              </a:endParaRPr>
            </a:p>
          </p:txBody>
        </p:sp>
        <p:sp>
          <p:nvSpPr>
            <p:cNvPr id="51" name="Freeform 383"/>
            <p:cNvSpPr>
              <a:spLocks/>
            </p:cNvSpPr>
            <p:nvPr/>
          </p:nvSpPr>
          <p:spPr bwMode="auto">
            <a:xfrm>
              <a:off x="7132638" y="4711700"/>
              <a:ext cx="865187" cy="328612"/>
            </a:xfrm>
            <a:custGeom>
              <a:avLst/>
              <a:gdLst>
                <a:gd name="T0" fmla="*/ 768 w 780"/>
                <a:gd name="T1" fmla="*/ 42 h 297"/>
                <a:gd name="T2" fmla="*/ 695 w 780"/>
                <a:gd name="T3" fmla="*/ 0 h 297"/>
                <a:gd name="T4" fmla="*/ 413 w 780"/>
                <a:gd name="T5" fmla="*/ 163 h 297"/>
                <a:gd name="T6" fmla="*/ 390 w 780"/>
                <a:gd name="T7" fmla="*/ 169 h 297"/>
                <a:gd name="T8" fmla="*/ 368 w 780"/>
                <a:gd name="T9" fmla="*/ 163 h 297"/>
                <a:gd name="T10" fmla="*/ 367 w 780"/>
                <a:gd name="T11" fmla="*/ 163 h 297"/>
                <a:gd name="T12" fmla="*/ 86 w 780"/>
                <a:gd name="T13" fmla="*/ 0 h 297"/>
                <a:gd name="T14" fmla="*/ 12 w 780"/>
                <a:gd name="T15" fmla="*/ 42 h 297"/>
                <a:gd name="T16" fmla="*/ 2 w 780"/>
                <a:gd name="T17" fmla="*/ 54 h 297"/>
                <a:gd name="T18" fmla="*/ 2 w 780"/>
                <a:gd name="T19" fmla="*/ 70 h 297"/>
                <a:gd name="T20" fmla="*/ 12 w 780"/>
                <a:gd name="T21" fmla="*/ 82 h 297"/>
                <a:gd name="T22" fmla="*/ 379 w 780"/>
                <a:gd name="T23" fmla="*/ 294 h 297"/>
                <a:gd name="T24" fmla="*/ 390 w 780"/>
                <a:gd name="T25" fmla="*/ 297 h 297"/>
                <a:gd name="T26" fmla="*/ 401 w 780"/>
                <a:gd name="T27" fmla="*/ 294 h 297"/>
                <a:gd name="T28" fmla="*/ 768 w 780"/>
                <a:gd name="T29" fmla="*/ 82 h 297"/>
                <a:gd name="T30" fmla="*/ 778 w 780"/>
                <a:gd name="T31" fmla="*/ 70 h 297"/>
                <a:gd name="T32" fmla="*/ 778 w 780"/>
                <a:gd name="T33" fmla="*/ 54 h 297"/>
                <a:gd name="T34" fmla="*/ 768 w 780"/>
                <a:gd name="T35" fmla="*/ 42 h 2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0" h="297">
                  <a:moveTo>
                    <a:pt x="768" y="42"/>
                  </a:moveTo>
                  <a:cubicBezTo>
                    <a:pt x="695" y="0"/>
                    <a:pt x="695" y="0"/>
                    <a:pt x="695" y="0"/>
                  </a:cubicBezTo>
                  <a:cubicBezTo>
                    <a:pt x="413" y="163"/>
                    <a:pt x="413" y="163"/>
                    <a:pt x="413" y="163"/>
                  </a:cubicBezTo>
                  <a:cubicBezTo>
                    <a:pt x="406" y="167"/>
                    <a:pt x="398" y="169"/>
                    <a:pt x="390" y="169"/>
                  </a:cubicBezTo>
                  <a:cubicBezTo>
                    <a:pt x="382" y="169"/>
                    <a:pt x="374" y="167"/>
                    <a:pt x="368" y="163"/>
                  </a:cubicBezTo>
                  <a:cubicBezTo>
                    <a:pt x="367" y="163"/>
                    <a:pt x="367" y="163"/>
                    <a:pt x="367" y="163"/>
                  </a:cubicBezTo>
                  <a:cubicBezTo>
                    <a:pt x="86" y="0"/>
                    <a:pt x="86" y="0"/>
                    <a:pt x="86" y="0"/>
                  </a:cubicBezTo>
                  <a:cubicBezTo>
                    <a:pt x="12" y="42"/>
                    <a:pt x="12" y="42"/>
                    <a:pt x="12" y="42"/>
                  </a:cubicBezTo>
                  <a:cubicBezTo>
                    <a:pt x="7" y="45"/>
                    <a:pt x="4" y="49"/>
                    <a:pt x="2" y="54"/>
                  </a:cubicBezTo>
                  <a:cubicBezTo>
                    <a:pt x="0" y="59"/>
                    <a:pt x="0" y="65"/>
                    <a:pt x="2" y="70"/>
                  </a:cubicBezTo>
                  <a:cubicBezTo>
                    <a:pt x="4" y="75"/>
                    <a:pt x="7" y="79"/>
                    <a:pt x="12" y="82"/>
                  </a:cubicBezTo>
                  <a:cubicBezTo>
                    <a:pt x="379" y="294"/>
                    <a:pt x="379" y="294"/>
                    <a:pt x="379" y="294"/>
                  </a:cubicBezTo>
                  <a:cubicBezTo>
                    <a:pt x="382" y="296"/>
                    <a:pt x="386" y="297"/>
                    <a:pt x="390" y="297"/>
                  </a:cubicBezTo>
                  <a:cubicBezTo>
                    <a:pt x="394" y="297"/>
                    <a:pt x="398" y="296"/>
                    <a:pt x="401" y="294"/>
                  </a:cubicBezTo>
                  <a:cubicBezTo>
                    <a:pt x="768" y="82"/>
                    <a:pt x="768" y="82"/>
                    <a:pt x="768" y="82"/>
                  </a:cubicBezTo>
                  <a:cubicBezTo>
                    <a:pt x="773" y="79"/>
                    <a:pt x="776" y="75"/>
                    <a:pt x="778" y="70"/>
                  </a:cubicBezTo>
                  <a:cubicBezTo>
                    <a:pt x="780" y="65"/>
                    <a:pt x="780" y="59"/>
                    <a:pt x="778" y="54"/>
                  </a:cubicBezTo>
                  <a:cubicBezTo>
                    <a:pt x="776" y="49"/>
                    <a:pt x="773" y="45"/>
                    <a:pt x="768" y="4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000">
                <a:solidFill>
                  <a:srgbClr val="000000"/>
                </a:solidFill>
              </a:endParaRPr>
            </a:p>
          </p:txBody>
        </p:sp>
      </p:grpSp>
      <p:sp>
        <p:nvSpPr>
          <p:cNvPr id="52" name="Rectangle 20">
            <a:extLst>
              <a:ext uri="{FF2B5EF4-FFF2-40B4-BE49-F238E27FC236}">
                <a16:creationId xmlns:a16="http://schemas.microsoft.com/office/drawing/2014/main" xmlns="" id="{35243DD3-35C7-4641-81AE-B18CF3869EEF}"/>
              </a:ext>
            </a:extLst>
          </p:cNvPr>
          <p:cNvSpPr/>
          <p:nvPr/>
        </p:nvSpPr>
        <p:spPr>
          <a:xfrm>
            <a:off x="412517" y="2194063"/>
            <a:ext cx="7670208" cy="4356390"/>
          </a:xfrm>
          <a:prstGeom prst="rect">
            <a:avLst/>
          </a:prstGeom>
          <a:solidFill>
            <a:srgbClr val="FFFFFF"/>
          </a:solidFill>
          <a:ln w="25400" cap="flat" cmpd="sng" algn="ctr">
            <a:solidFill>
              <a:schemeClr val="bg1">
                <a:lumMod val="95000"/>
              </a:schemeClr>
            </a:solidFill>
            <a:prstDash val="solid"/>
            <a:miter lim="800000"/>
          </a:ln>
          <a:effectLst>
            <a:outerShdw blurRad="393700" dist="50800" dir="5400000" algn="ctr" rotWithShape="0">
              <a:srgbClr val="000000">
                <a:alpha val="25000"/>
              </a:srgbClr>
            </a:outerShdw>
          </a:effectLst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sp>
        <p:nvSpPr>
          <p:cNvPr id="53" name="ZoneTexte 4"/>
          <p:cNvSpPr txBox="1"/>
          <p:nvPr/>
        </p:nvSpPr>
        <p:spPr>
          <a:xfrm>
            <a:off x="583182" y="2159465"/>
            <a:ext cx="7221893" cy="4161460"/>
          </a:xfrm>
          <a:prstGeom prst="rect">
            <a:avLst/>
          </a:prstGeom>
          <a:noFill/>
        </p:spPr>
        <p:txBody>
          <a:bodyPr wrap="square" lIns="84406" rIns="0" rtlCol="0">
            <a:spAutoFit/>
          </a:bodyPr>
          <a:lstStyle/>
          <a:p>
            <a:pPr marL="533400" lvl="0" indent="-533400">
              <a:lnSpc>
                <a:spcPct val="150000"/>
              </a:lnSpc>
              <a:buFont typeface="Wingdings" panose="05000000000000000000" pitchFamily="2" charset="2"/>
              <a:buChar char="q"/>
            </a:pPr>
            <a:r>
              <a:rPr lang="ru-RU" sz="3600" b="1" dirty="0">
                <a:solidFill>
                  <a:srgbClr val="000000"/>
                </a:solidFill>
                <a:latin typeface="Calibri"/>
              </a:rPr>
              <a:t>Финансовый </a:t>
            </a:r>
            <a:r>
              <a:rPr lang="ru-RU" sz="3600" b="1" dirty="0" smtClean="0">
                <a:solidFill>
                  <a:srgbClr val="000000"/>
                </a:solidFill>
                <a:latin typeface="Calibri"/>
              </a:rPr>
              <a:t>контроллинг</a:t>
            </a:r>
          </a:p>
          <a:p>
            <a:pPr marL="533400" lvl="0" indent="-533400">
              <a:lnSpc>
                <a:spcPct val="150000"/>
              </a:lnSpc>
              <a:buFont typeface="Wingdings" panose="05000000000000000000" pitchFamily="2" charset="2"/>
              <a:buChar char="q"/>
            </a:pPr>
            <a:r>
              <a:rPr lang="ru-RU" sz="3600" b="1" dirty="0" smtClean="0">
                <a:solidFill>
                  <a:srgbClr val="000000"/>
                </a:solidFill>
                <a:latin typeface="Calibri"/>
              </a:rPr>
              <a:t>Исполнение </a:t>
            </a:r>
            <a:r>
              <a:rPr lang="ru-RU" sz="3600" b="1" dirty="0">
                <a:solidFill>
                  <a:srgbClr val="000000"/>
                </a:solidFill>
                <a:latin typeface="Calibri"/>
              </a:rPr>
              <a:t>платежей </a:t>
            </a:r>
            <a:endParaRPr lang="ru-RU" sz="3600" b="1" dirty="0" smtClean="0">
              <a:solidFill>
                <a:srgbClr val="000000"/>
              </a:solidFill>
              <a:latin typeface="Calibri"/>
            </a:endParaRPr>
          </a:p>
          <a:p>
            <a:pPr marL="533400" lvl="0" indent="-533400">
              <a:lnSpc>
                <a:spcPct val="150000"/>
              </a:lnSpc>
              <a:buFont typeface="Wingdings" panose="05000000000000000000" pitchFamily="2" charset="2"/>
              <a:buChar char="q"/>
            </a:pPr>
            <a:r>
              <a:rPr lang="ru-RU" sz="3600" b="1" dirty="0" smtClean="0">
                <a:solidFill>
                  <a:srgbClr val="000000"/>
                </a:solidFill>
                <a:latin typeface="Calibri"/>
              </a:rPr>
              <a:t>Валютный </a:t>
            </a:r>
            <a:r>
              <a:rPr lang="ru-RU" sz="3600" b="1" dirty="0">
                <a:solidFill>
                  <a:srgbClr val="000000"/>
                </a:solidFill>
                <a:latin typeface="Calibri"/>
              </a:rPr>
              <a:t>контроль </a:t>
            </a:r>
            <a:endParaRPr lang="ru-RU" sz="3600" b="1" dirty="0" smtClean="0">
              <a:solidFill>
                <a:srgbClr val="000000"/>
              </a:solidFill>
              <a:latin typeface="Calibri"/>
            </a:endParaRPr>
          </a:p>
          <a:p>
            <a:pPr marL="533400" lvl="0" indent="-533400">
              <a:lnSpc>
                <a:spcPct val="150000"/>
              </a:lnSpc>
              <a:buFont typeface="Wingdings" panose="05000000000000000000" pitchFamily="2" charset="2"/>
              <a:buChar char="q"/>
            </a:pPr>
            <a:r>
              <a:rPr lang="ru-RU" sz="3600" b="1" dirty="0" smtClean="0">
                <a:solidFill>
                  <a:srgbClr val="000000"/>
                </a:solidFill>
                <a:latin typeface="Calibri"/>
              </a:rPr>
              <a:t>Зарплатные проекты</a:t>
            </a:r>
          </a:p>
          <a:p>
            <a:pPr marL="533400" lvl="0" indent="-533400">
              <a:lnSpc>
                <a:spcPct val="150000"/>
              </a:lnSpc>
              <a:buFont typeface="Wingdings" panose="05000000000000000000" pitchFamily="2" charset="2"/>
              <a:buChar char="q"/>
            </a:pPr>
            <a:r>
              <a:rPr lang="ru-RU" sz="3600" b="1" dirty="0" smtClean="0">
                <a:solidFill>
                  <a:srgbClr val="000000"/>
                </a:solidFill>
                <a:latin typeface="Calibri"/>
              </a:rPr>
              <a:t>Администрирование </a:t>
            </a:r>
            <a:r>
              <a:rPr lang="ru-RU" sz="3600" b="1" dirty="0">
                <a:solidFill>
                  <a:srgbClr val="000000"/>
                </a:solidFill>
                <a:latin typeface="Calibri"/>
              </a:rPr>
              <a:t>счетов </a:t>
            </a:r>
            <a:r>
              <a:rPr lang="ru-RU" sz="3600" b="1" dirty="0" smtClean="0">
                <a:solidFill>
                  <a:srgbClr val="000000"/>
                </a:solidFill>
                <a:latin typeface="Calibri"/>
              </a:rPr>
              <a:t>ДЗО</a:t>
            </a:r>
          </a:p>
        </p:txBody>
      </p:sp>
    </p:spTree>
    <p:extLst>
      <p:ext uri="{BB962C8B-B14F-4D97-AF65-F5344CB8AC3E}">
        <p14:creationId xmlns:p14="http://schemas.microsoft.com/office/powerpoint/2010/main" val="27086462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63" name="Слайд think-cell" r:id="rId6" imgW="347" imgH="346" progId="TCLayout.ActiveDocument.1">
                  <p:embed/>
                </p:oleObj>
              </mc:Choice>
              <mc:Fallback>
                <p:oleObj name="Слайд think-cell" r:id="rId6" imgW="347" imgH="346" progId="TCLayout.ActiveDocument.1">
                  <p:embed/>
                  <p:pic>
                    <p:nvPicPr>
                      <p:cNvPr id="2" name="Объект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Прямоугольник 6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ru-RU" sz="2462" b="1" dirty="0">
              <a:latin typeface="Calibri" panose="020F0502020204030204" pitchFamily="34" charset="0"/>
              <a:ea typeface="+mj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3600" dirty="0" smtClean="0"/>
              <a:t>Информационный ландшафт</a:t>
            </a:r>
            <a:endParaRPr lang="ru-RU" sz="3600" dirty="0"/>
          </a:p>
        </p:txBody>
      </p:sp>
      <p:sp>
        <p:nvSpPr>
          <p:cNvPr id="4" name="Скругленный прямоугольник 3"/>
          <p:cNvSpPr/>
          <p:nvPr/>
        </p:nvSpPr>
        <p:spPr>
          <a:xfrm>
            <a:off x="85197" y="1725546"/>
            <a:ext cx="11998570" cy="818623"/>
          </a:xfrm>
          <a:prstGeom prst="round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>
            <a:innerShdw blurRad="63500" dist="50800" dir="18900000">
              <a:prstClr val="black">
                <a:alpha val="50000"/>
              </a:prstClr>
            </a:innerShdw>
          </a:effectLst>
          <a:scene3d>
            <a:camera prst="orthographicFront"/>
            <a:lightRig rig="threePt" dir="t"/>
          </a:scene3d>
          <a:sp3d>
            <a:bevelT w="139700" h="139700" prst="divot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3200" b="1" dirty="0" smtClean="0">
                <a:solidFill>
                  <a:schemeClr val="tx1"/>
                </a:solidFill>
              </a:rPr>
              <a:t>ЕДИНАЯ СИСТЕМА НСИ 1С:МДМ</a:t>
            </a:r>
          </a:p>
        </p:txBody>
      </p:sp>
      <p:sp>
        <p:nvSpPr>
          <p:cNvPr id="8" name="Скругленный прямоугольник 7"/>
          <p:cNvSpPr/>
          <p:nvPr/>
        </p:nvSpPr>
        <p:spPr>
          <a:xfrm>
            <a:off x="3903437" y="2853158"/>
            <a:ext cx="4636347" cy="1308144"/>
          </a:xfrm>
          <a:prstGeom prst="roundRect">
            <a:avLst/>
          </a:prstGeom>
          <a:solidFill>
            <a:schemeClr val="bg1">
              <a:lumMod val="75000"/>
            </a:schemeClr>
          </a:solidFill>
          <a:ln>
            <a:noFill/>
          </a:ln>
          <a:scene3d>
            <a:camera prst="orthographicFront"/>
            <a:lightRig rig="threePt" dir="t"/>
          </a:scene3d>
          <a:sp3d>
            <a:bevelT w="139700" h="139700" prst="divot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800" b="1" dirty="0" smtClean="0">
                <a:solidFill>
                  <a:schemeClr val="tx1"/>
                </a:solidFill>
              </a:rPr>
              <a:t>ЕДИНАЯ СИСТЕМА КАЗНАЧЕЙСТВА 1С:УХ</a:t>
            </a:r>
          </a:p>
        </p:txBody>
      </p:sp>
      <p:sp>
        <p:nvSpPr>
          <p:cNvPr id="9" name="Скругленный прямоугольник 8"/>
          <p:cNvSpPr/>
          <p:nvPr/>
        </p:nvSpPr>
        <p:spPr>
          <a:xfrm>
            <a:off x="8654473" y="2858359"/>
            <a:ext cx="3429294" cy="1297464"/>
          </a:xfrm>
          <a:prstGeom prst="roundRect">
            <a:avLst/>
          </a:prstGeom>
          <a:solidFill>
            <a:schemeClr val="bg1">
              <a:lumMod val="75000"/>
            </a:schemeClr>
          </a:solidFill>
          <a:ln>
            <a:noFill/>
          </a:ln>
          <a:scene3d>
            <a:camera prst="orthographicFront"/>
            <a:lightRig rig="threePt" dir="t"/>
          </a:scene3d>
          <a:sp3d>
            <a:bevelT w="139700" h="139700" prst="divot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800" b="1" dirty="0" smtClean="0">
                <a:solidFill>
                  <a:schemeClr val="tx1"/>
                </a:solidFill>
              </a:rPr>
              <a:t>СИСТЕМЫ 1С:БП</a:t>
            </a:r>
            <a:r>
              <a:rPr lang="ru-RU" sz="2800" dirty="0" smtClean="0">
                <a:solidFill>
                  <a:schemeClr val="bg1"/>
                </a:solidFill>
              </a:rPr>
              <a:t> </a:t>
            </a:r>
          </a:p>
          <a:p>
            <a:pPr algn="ctr"/>
            <a:r>
              <a:rPr lang="ru-RU" sz="2800" b="1" dirty="0" smtClean="0">
                <a:solidFill>
                  <a:schemeClr val="tx1"/>
                </a:solidFill>
              </a:rPr>
              <a:t>48 БАЗ</a:t>
            </a:r>
            <a:endParaRPr lang="ru-RU" sz="2800" b="1" dirty="0">
              <a:solidFill>
                <a:schemeClr val="tx1"/>
              </a:solidFill>
            </a:endParaRPr>
          </a:p>
        </p:txBody>
      </p:sp>
      <p:sp>
        <p:nvSpPr>
          <p:cNvPr id="14" name="Скругленный прямоугольник 13"/>
          <p:cNvSpPr/>
          <p:nvPr/>
        </p:nvSpPr>
        <p:spPr>
          <a:xfrm>
            <a:off x="233265" y="5920066"/>
            <a:ext cx="7819053" cy="819747"/>
          </a:xfrm>
          <a:prstGeom prst="roundRect">
            <a:avLst/>
          </a:prstGeom>
          <a:solidFill>
            <a:schemeClr val="bg1">
              <a:lumMod val="75000"/>
            </a:schemeClr>
          </a:solidFill>
          <a:ln>
            <a:noFill/>
          </a:ln>
          <a:scene3d>
            <a:camera prst="orthographicFront"/>
            <a:lightRig rig="threePt" dir="t"/>
          </a:scene3d>
          <a:sp3d>
            <a:bevelT w="139700" h="139700" prst="divot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400" b="1" dirty="0" smtClean="0">
                <a:solidFill>
                  <a:schemeClr val="tx1"/>
                </a:solidFill>
              </a:rPr>
              <a:t>СИСТЕМЫ КЛИЕНТ-БАНК</a:t>
            </a:r>
          </a:p>
        </p:txBody>
      </p:sp>
      <p:cxnSp>
        <p:nvCxnSpPr>
          <p:cNvPr id="23" name="Прямая со стрелкой 22"/>
          <p:cNvCxnSpPr>
            <a:stCxn id="66" idx="2"/>
          </p:cNvCxnSpPr>
          <p:nvPr/>
        </p:nvCxnSpPr>
        <p:spPr>
          <a:xfrm flipH="1">
            <a:off x="6221611" y="5445888"/>
            <a:ext cx="1365" cy="474178"/>
          </a:xfrm>
          <a:prstGeom prst="straightConnector1">
            <a:avLst/>
          </a:prstGeom>
          <a:ln w="57150">
            <a:solidFill>
              <a:schemeClr val="bg1">
                <a:lumMod val="50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Соединительная линия уступом 26"/>
          <p:cNvCxnSpPr>
            <a:stCxn id="66" idx="3"/>
            <a:endCxn id="9" idx="2"/>
          </p:cNvCxnSpPr>
          <p:nvPr/>
        </p:nvCxnSpPr>
        <p:spPr>
          <a:xfrm flipV="1">
            <a:off x="7839514" y="4155823"/>
            <a:ext cx="2529606" cy="846720"/>
          </a:xfrm>
          <a:prstGeom prst="bentConnector2">
            <a:avLst/>
          </a:prstGeom>
          <a:ln w="57150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TextBox 29">
            <a:extLst>
              <a:ext uri="{FF2B5EF4-FFF2-40B4-BE49-F238E27FC236}">
                <a16:creationId xmlns:a16="http://schemas.microsoft.com/office/drawing/2014/main" xmlns="" id="{4BD23A7F-D099-4F90-8D08-974EA067B5C7}"/>
              </a:ext>
            </a:extLst>
          </p:cNvPr>
          <p:cNvSpPr txBox="1"/>
          <p:nvPr/>
        </p:nvSpPr>
        <p:spPr>
          <a:xfrm>
            <a:off x="9230535" y="5412691"/>
            <a:ext cx="2853232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217729"/>
            <a:r>
              <a:rPr lang="ru-RU" sz="4800" b="1" dirty="0" smtClean="0">
                <a:solidFill>
                  <a:schemeClr val="bg2">
                    <a:lumMod val="75000"/>
                  </a:schemeClr>
                </a:solidFill>
              </a:rPr>
              <a:t>1500+</a:t>
            </a:r>
            <a:r>
              <a:rPr lang="ru-RU" sz="3600" b="1" dirty="0" smtClean="0">
                <a:solidFill>
                  <a:schemeClr val="bg2">
                    <a:lumMod val="75000"/>
                  </a:schemeClr>
                </a:solidFill>
              </a:rPr>
              <a:t/>
            </a:r>
            <a:br>
              <a:rPr lang="ru-RU" sz="3600" b="1" dirty="0" smtClean="0">
                <a:solidFill>
                  <a:schemeClr val="bg2">
                    <a:lumMod val="75000"/>
                  </a:schemeClr>
                </a:solidFill>
              </a:rPr>
            </a:br>
            <a:r>
              <a:rPr lang="ru-RU" sz="2400" b="1" dirty="0" smtClean="0">
                <a:solidFill>
                  <a:schemeClr val="bg2">
                    <a:lumMod val="75000"/>
                  </a:schemeClr>
                </a:solidFill>
              </a:rPr>
              <a:t>пользователей</a:t>
            </a:r>
            <a:endParaRPr lang="ru-RU" sz="2400" b="1" dirty="0">
              <a:solidFill>
                <a:schemeClr val="bg2">
                  <a:lumMod val="75000"/>
                </a:schemeClr>
              </a:solidFill>
            </a:endParaRPr>
          </a:p>
        </p:txBody>
      </p:sp>
      <p:grpSp>
        <p:nvGrpSpPr>
          <p:cNvPr id="31" name="Группа 30"/>
          <p:cNvGrpSpPr/>
          <p:nvPr/>
        </p:nvGrpSpPr>
        <p:grpSpPr>
          <a:xfrm>
            <a:off x="8412701" y="5446196"/>
            <a:ext cx="1063689" cy="1038345"/>
            <a:chOff x="245240" y="6781139"/>
            <a:chExt cx="830893" cy="827350"/>
          </a:xfrm>
        </p:grpSpPr>
        <p:grpSp>
          <p:nvGrpSpPr>
            <p:cNvPr id="32" name="Группа 31"/>
            <p:cNvGrpSpPr/>
            <p:nvPr/>
          </p:nvGrpSpPr>
          <p:grpSpPr>
            <a:xfrm>
              <a:off x="245240" y="6781139"/>
              <a:ext cx="830893" cy="827350"/>
              <a:chOff x="245240" y="6781139"/>
              <a:chExt cx="830893" cy="827350"/>
            </a:xfrm>
          </p:grpSpPr>
          <p:pic>
            <p:nvPicPr>
              <p:cNvPr id="34" name="Рисунок 33">
                <a:extLst>
                  <a:ext uri="{FF2B5EF4-FFF2-40B4-BE49-F238E27FC236}">
                    <a16:creationId xmlns:a16="http://schemas.microsoft.com/office/drawing/2014/main" xmlns="" id="{19FD8DE0-6E8E-4E62-B4A9-5592D006940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 cstate="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="" xmlns:asvg="http://schemas.microsoft.com/office/drawing/2016/SVG/main" r:embed="rId9"/>
                  </a:ext>
                </a:extLst>
              </a:blip>
              <a:stretch>
                <a:fillRect/>
              </a:stretch>
            </p:blipFill>
            <p:spPr>
              <a:xfrm>
                <a:off x="245240" y="6781139"/>
                <a:ext cx="830893" cy="827350"/>
              </a:xfrm>
              <a:prstGeom prst="rect">
                <a:avLst/>
              </a:prstGeom>
            </p:spPr>
          </p:pic>
          <p:sp>
            <p:nvSpPr>
              <p:cNvPr id="35" name="Овал 34"/>
              <p:cNvSpPr/>
              <p:nvPr/>
            </p:nvSpPr>
            <p:spPr>
              <a:xfrm>
                <a:off x="351029" y="6887361"/>
                <a:ext cx="576185" cy="584452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sz="1286">
                  <a:solidFill>
                    <a:schemeClr val="bg2">
                      <a:lumMod val="75000"/>
                    </a:schemeClr>
                  </a:solidFill>
                </a:endParaRPr>
              </a:p>
            </p:txBody>
          </p:sp>
        </p:grpSp>
        <p:sp>
          <p:nvSpPr>
            <p:cNvPr id="33" name="Freeform 317"/>
            <p:cNvSpPr>
              <a:spLocks noEditPoints="1"/>
            </p:cNvSpPr>
            <p:nvPr/>
          </p:nvSpPr>
          <p:spPr bwMode="auto">
            <a:xfrm>
              <a:off x="346669" y="7025612"/>
              <a:ext cx="628033" cy="343026"/>
            </a:xfrm>
            <a:custGeom>
              <a:avLst/>
              <a:gdLst>
                <a:gd name="T0" fmla="*/ 289 w 854"/>
                <a:gd name="T1" fmla="*/ 240 h 440"/>
                <a:gd name="T2" fmla="*/ 202 w 854"/>
                <a:gd name="T3" fmla="*/ 202 h 440"/>
                <a:gd name="T4" fmla="*/ 173 w 854"/>
                <a:gd name="T5" fmla="*/ 343 h 440"/>
                <a:gd name="T6" fmla="*/ 212 w 854"/>
                <a:gd name="T7" fmla="*/ 287 h 440"/>
                <a:gd name="T8" fmla="*/ 97 w 854"/>
                <a:gd name="T9" fmla="*/ 202 h 440"/>
                <a:gd name="T10" fmla="*/ 9 w 854"/>
                <a:gd name="T11" fmla="*/ 243 h 440"/>
                <a:gd name="T12" fmla="*/ 127 w 854"/>
                <a:gd name="T13" fmla="*/ 343 h 440"/>
                <a:gd name="T14" fmla="*/ 97 w 854"/>
                <a:gd name="T15" fmla="*/ 202 h 440"/>
                <a:gd name="T16" fmla="*/ 130 w 854"/>
                <a:gd name="T17" fmla="*/ 237 h 440"/>
                <a:gd name="T18" fmla="*/ 135 w 854"/>
                <a:gd name="T19" fmla="*/ 343 h 440"/>
                <a:gd name="T20" fmla="*/ 164 w 854"/>
                <a:gd name="T21" fmla="*/ 343 h 440"/>
                <a:gd name="T22" fmla="*/ 169 w 854"/>
                <a:gd name="T23" fmla="*/ 237 h 440"/>
                <a:gd name="T24" fmla="*/ 116 w 854"/>
                <a:gd name="T25" fmla="*/ 180 h 440"/>
                <a:gd name="T26" fmla="*/ 150 w 854"/>
                <a:gd name="T27" fmla="*/ 219 h 440"/>
                <a:gd name="T28" fmla="*/ 183 w 854"/>
                <a:gd name="T29" fmla="*/ 180 h 440"/>
                <a:gd name="T30" fmla="*/ 207 w 854"/>
                <a:gd name="T31" fmla="*/ 101 h 440"/>
                <a:gd name="T32" fmla="*/ 92 w 854"/>
                <a:gd name="T33" fmla="*/ 101 h 440"/>
                <a:gd name="T34" fmla="*/ 116 w 854"/>
                <a:gd name="T35" fmla="*/ 180 h 440"/>
                <a:gd name="T36" fmla="*/ 830 w 854"/>
                <a:gd name="T37" fmla="*/ 228 h 440"/>
                <a:gd name="T38" fmla="*/ 766 w 854"/>
                <a:gd name="T39" fmla="*/ 234 h 440"/>
                <a:gd name="T40" fmla="*/ 724 w 854"/>
                <a:gd name="T41" fmla="*/ 320 h 440"/>
                <a:gd name="T42" fmla="*/ 854 w 854"/>
                <a:gd name="T43" fmla="*/ 329 h 440"/>
                <a:gd name="T44" fmla="*/ 749 w 854"/>
                <a:gd name="T45" fmla="*/ 186 h 440"/>
                <a:gd name="T46" fmla="*/ 796 w 854"/>
                <a:gd name="T47" fmla="*/ 164 h 440"/>
                <a:gd name="T48" fmla="*/ 721 w 854"/>
                <a:gd name="T49" fmla="*/ 36 h 440"/>
                <a:gd name="T50" fmla="*/ 662 w 854"/>
                <a:gd name="T51" fmla="*/ 95 h 440"/>
                <a:gd name="T52" fmla="*/ 689 w 854"/>
                <a:gd name="T53" fmla="*/ 182 h 440"/>
                <a:gd name="T54" fmla="*/ 681 w 854"/>
                <a:gd name="T55" fmla="*/ 201 h 440"/>
                <a:gd name="T56" fmla="*/ 757 w 854"/>
                <a:gd name="T57" fmla="*/ 201 h 440"/>
                <a:gd name="T58" fmla="*/ 672 w 854"/>
                <a:gd name="T59" fmla="*/ 234 h 440"/>
                <a:gd name="T60" fmla="*/ 608 w 854"/>
                <a:gd name="T61" fmla="*/ 228 h 440"/>
                <a:gd name="T62" fmla="*/ 593 w 854"/>
                <a:gd name="T63" fmla="*/ 248 h 440"/>
                <a:gd name="T64" fmla="*/ 648 w 854"/>
                <a:gd name="T65" fmla="*/ 287 h 440"/>
                <a:gd name="T66" fmla="*/ 719 w 854"/>
                <a:gd name="T67" fmla="*/ 345 h 440"/>
                <a:gd name="T68" fmla="*/ 658 w 854"/>
                <a:gd name="T69" fmla="*/ 245 h 440"/>
                <a:gd name="T70" fmla="*/ 430 w 854"/>
                <a:gd name="T71" fmla="*/ 263 h 440"/>
                <a:gd name="T72" fmla="*/ 419 w 854"/>
                <a:gd name="T73" fmla="*/ 310 h 440"/>
                <a:gd name="T74" fmla="*/ 427 w 854"/>
                <a:gd name="T75" fmla="*/ 440 h 440"/>
                <a:gd name="T76" fmla="*/ 441 w 854"/>
                <a:gd name="T77" fmla="*/ 310 h 440"/>
                <a:gd name="T78" fmla="*/ 430 w 854"/>
                <a:gd name="T79" fmla="*/ 263 h 440"/>
                <a:gd name="T80" fmla="*/ 379 w 854"/>
                <a:gd name="T81" fmla="*/ 213 h 440"/>
                <a:gd name="T82" fmla="*/ 481 w 854"/>
                <a:gd name="T83" fmla="*/ 213 h 440"/>
                <a:gd name="T84" fmla="*/ 478 w 854"/>
                <a:gd name="T85" fmla="*/ 186 h 440"/>
                <a:gd name="T86" fmla="*/ 430 w 854"/>
                <a:gd name="T87" fmla="*/ 0 h 440"/>
                <a:gd name="T88" fmla="*/ 382 w 854"/>
                <a:gd name="T89" fmla="*/ 186 h 440"/>
                <a:gd name="T90" fmla="*/ 354 w 854"/>
                <a:gd name="T91" fmla="*/ 233 h 440"/>
                <a:gd name="T92" fmla="*/ 249 w 854"/>
                <a:gd name="T93" fmla="*/ 269 h 440"/>
                <a:gd name="T94" fmla="*/ 219 w 854"/>
                <a:gd name="T95" fmla="*/ 340 h 440"/>
                <a:gd name="T96" fmla="*/ 397 w 854"/>
                <a:gd name="T97" fmla="*/ 439 h 440"/>
                <a:gd name="T98" fmla="*/ 354 w 854"/>
                <a:gd name="T99" fmla="*/ 233 h 440"/>
                <a:gd name="T100" fmla="*/ 612 w 854"/>
                <a:gd name="T101" fmla="*/ 269 h 440"/>
                <a:gd name="T102" fmla="*/ 506 w 854"/>
                <a:gd name="T103" fmla="*/ 233 h 440"/>
                <a:gd name="T104" fmla="*/ 464 w 854"/>
                <a:gd name="T105" fmla="*/ 439 h 440"/>
                <a:gd name="T106" fmla="*/ 641 w 854"/>
                <a:gd name="T107" fmla="*/ 340 h 4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854" h="440">
                  <a:moveTo>
                    <a:pt x="243" y="256"/>
                  </a:moveTo>
                  <a:cubicBezTo>
                    <a:pt x="250" y="254"/>
                    <a:pt x="269" y="247"/>
                    <a:pt x="289" y="240"/>
                  </a:cubicBezTo>
                  <a:cubicBezTo>
                    <a:pt x="286" y="235"/>
                    <a:pt x="282" y="230"/>
                    <a:pt x="274" y="227"/>
                  </a:cubicBezTo>
                  <a:cubicBezTo>
                    <a:pt x="264" y="223"/>
                    <a:pt x="208" y="204"/>
                    <a:pt x="202" y="202"/>
                  </a:cubicBezTo>
                  <a:cubicBezTo>
                    <a:pt x="198" y="201"/>
                    <a:pt x="195" y="199"/>
                    <a:pt x="193" y="198"/>
                  </a:cubicBezTo>
                  <a:cubicBezTo>
                    <a:pt x="173" y="343"/>
                    <a:pt x="173" y="343"/>
                    <a:pt x="173" y="343"/>
                  </a:cubicBezTo>
                  <a:cubicBezTo>
                    <a:pt x="184" y="343"/>
                    <a:pt x="195" y="342"/>
                    <a:pt x="204" y="341"/>
                  </a:cubicBezTo>
                  <a:cubicBezTo>
                    <a:pt x="209" y="293"/>
                    <a:pt x="211" y="290"/>
                    <a:pt x="212" y="287"/>
                  </a:cubicBezTo>
                  <a:cubicBezTo>
                    <a:pt x="218" y="272"/>
                    <a:pt x="228" y="262"/>
                    <a:pt x="243" y="256"/>
                  </a:cubicBezTo>
                  <a:close/>
                  <a:moveTo>
                    <a:pt x="97" y="202"/>
                  </a:moveTo>
                  <a:cubicBezTo>
                    <a:pt x="91" y="204"/>
                    <a:pt x="35" y="223"/>
                    <a:pt x="25" y="227"/>
                  </a:cubicBezTo>
                  <a:cubicBezTo>
                    <a:pt x="15" y="231"/>
                    <a:pt x="11" y="237"/>
                    <a:pt x="9" y="243"/>
                  </a:cubicBezTo>
                  <a:cubicBezTo>
                    <a:pt x="7" y="248"/>
                    <a:pt x="0" y="325"/>
                    <a:pt x="0" y="325"/>
                  </a:cubicBezTo>
                  <a:cubicBezTo>
                    <a:pt x="0" y="325"/>
                    <a:pt x="40" y="341"/>
                    <a:pt x="127" y="343"/>
                  </a:cubicBezTo>
                  <a:cubicBezTo>
                    <a:pt x="106" y="198"/>
                    <a:pt x="106" y="198"/>
                    <a:pt x="106" y="198"/>
                  </a:cubicBezTo>
                  <a:cubicBezTo>
                    <a:pt x="104" y="199"/>
                    <a:pt x="101" y="201"/>
                    <a:pt x="97" y="202"/>
                  </a:cubicBezTo>
                  <a:close/>
                  <a:moveTo>
                    <a:pt x="150" y="222"/>
                  </a:moveTo>
                  <a:cubicBezTo>
                    <a:pt x="130" y="237"/>
                    <a:pt x="130" y="237"/>
                    <a:pt x="130" y="237"/>
                  </a:cubicBezTo>
                  <a:cubicBezTo>
                    <a:pt x="142" y="255"/>
                    <a:pt x="142" y="255"/>
                    <a:pt x="142" y="255"/>
                  </a:cubicBezTo>
                  <a:cubicBezTo>
                    <a:pt x="135" y="343"/>
                    <a:pt x="135" y="343"/>
                    <a:pt x="135" y="343"/>
                  </a:cubicBezTo>
                  <a:cubicBezTo>
                    <a:pt x="139" y="343"/>
                    <a:pt x="143" y="344"/>
                    <a:pt x="147" y="344"/>
                  </a:cubicBezTo>
                  <a:cubicBezTo>
                    <a:pt x="153" y="344"/>
                    <a:pt x="159" y="343"/>
                    <a:pt x="164" y="343"/>
                  </a:cubicBezTo>
                  <a:cubicBezTo>
                    <a:pt x="157" y="255"/>
                    <a:pt x="157" y="255"/>
                    <a:pt x="157" y="255"/>
                  </a:cubicBezTo>
                  <a:cubicBezTo>
                    <a:pt x="169" y="237"/>
                    <a:pt x="169" y="237"/>
                    <a:pt x="169" y="237"/>
                  </a:cubicBezTo>
                  <a:lnTo>
                    <a:pt x="150" y="222"/>
                  </a:lnTo>
                  <a:close/>
                  <a:moveTo>
                    <a:pt x="116" y="180"/>
                  </a:moveTo>
                  <a:cubicBezTo>
                    <a:pt x="116" y="183"/>
                    <a:pt x="116" y="186"/>
                    <a:pt x="115" y="189"/>
                  </a:cubicBezTo>
                  <a:cubicBezTo>
                    <a:pt x="117" y="191"/>
                    <a:pt x="131" y="206"/>
                    <a:pt x="150" y="219"/>
                  </a:cubicBezTo>
                  <a:cubicBezTo>
                    <a:pt x="168" y="206"/>
                    <a:pt x="182" y="192"/>
                    <a:pt x="185" y="189"/>
                  </a:cubicBezTo>
                  <a:cubicBezTo>
                    <a:pt x="183" y="186"/>
                    <a:pt x="183" y="183"/>
                    <a:pt x="183" y="180"/>
                  </a:cubicBezTo>
                  <a:cubicBezTo>
                    <a:pt x="183" y="170"/>
                    <a:pt x="183" y="170"/>
                    <a:pt x="183" y="170"/>
                  </a:cubicBezTo>
                  <a:cubicBezTo>
                    <a:pt x="197" y="151"/>
                    <a:pt x="207" y="122"/>
                    <a:pt x="207" y="101"/>
                  </a:cubicBezTo>
                  <a:cubicBezTo>
                    <a:pt x="207" y="66"/>
                    <a:pt x="181" y="43"/>
                    <a:pt x="150" y="43"/>
                  </a:cubicBezTo>
                  <a:cubicBezTo>
                    <a:pt x="118" y="43"/>
                    <a:pt x="92" y="66"/>
                    <a:pt x="92" y="101"/>
                  </a:cubicBezTo>
                  <a:cubicBezTo>
                    <a:pt x="92" y="122"/>
                    <a:pt x="102" y="151"/>
                    <a:pt x="116" y="170"/>
                  </a:cubicBezTo>
                  <a:lnTo>
                    <a:pt x="116" y="180"/>
                  </a:lnTo>
                  <a:close/>
                  <a:moveTo>
                    <a:pt x="844" y="242"/>
                  </a:moveTo>
                  <a:cubicBezTo>
                    <a:pt x="842" y="237"/>
                    <a:pt x="839" y="232"/>
                    <a:pt x="830" y="228"/>
                  </a:cubicBezTo>
                  <a:cubicBezTo>
                    <a:pt x="823" y="226"/>
                    <a:pt x="797" y="217"/>
                    <a:pt x="780" y="211"/>
                  </a:cubicBezTo>
                  <a:cubicBezTo>
                    <a:pt x="766" y="234"/>
                    <a:pt x="766" y="234"/>
                    <a:pt x="766" y="234"/>
                  </a:cubicBezTo>
                  <a:cubicBezTo>
                    <a:pt x="780" y="245"/>
                    <a:pt x="780" y="245"/>
                    <a:pt x="780" y="245"/>
                  </a:cubicBezTo>
                  <a:cubicBezTo>
                    <a:pt x="724" y="320"/>
                    <a:pt x="724" y="320"/>
                    <a:pt x="724" y="320"/>
                  </a:cubicBezTo>
                  <a:cubicBezTo>
                    <a:pt x="724" y="345"/>
                    <a:pt x="724" y="345"/>
                    <a:pt x="724" y="345"/>
                  </a:cubicBezTo>
                  <a:cubicBezTo>
                    <a:pt x="767" y="345"/>
                    <a:pt x="816" y="339"/>
                    <a:pt x="854" y="329"/>
                  </a:cubicBezTo>
                  <a:cubicBezTo>
                    <a:pt x="853" y="288"/>
                    <a:pt x="845" y="243"/>
                    <a:pt x="844" y="242"/>
                  </a:cubicBezTo>
                  <a:close/>
                  <a:moveTo>
                    <a:pt x="749" y="186"/>
                  </a:moveTo>
                  <a:cubicBezTo>
                    <a:pt x="749" y="183"/>
                    <a:pt x="749" y="183"/>
                    <a:pt x="749" y="183"/>
                  </a:cubicBezTo>
                  <a:cubicBezTo>
                    <a:pt x="764" y="181"/>
                    <a:pt x="783" y="176"/>
                    <a:pt x="796" y="164"/>
                  </a:cubicBezTo>
                  <a:cubicBezTo>
                    <a:pt x="796" y="164"/>
                    <a:pt x="780" y="143"/>
                    <a:pt x="780" y="95"/>
                  </a:cubicBezTo>
                  <a:cubicBezTo>
                    <a:pt x="780" y="61"/>
                    <a:pt x="760" y="37"/>
                    <a:pt x="721" y="36"/>
                  </a:cubicBezTo>
                  <a:cubicBezTo>
                    <a:pt x="721" y="36"/>
                    <a:pt x="721" y="36"/>
                    <a:pt x="721" y="36"/>
                  </a:cubicBezTo>
                  <a:cubicBezTo>
                    <a:pt x="682" y="37"/>
                    <a:pt x="662" y="61"/>
                    <a:pt x="662" y="95"/>
                  </a:cubicBezTo>
                  <a:cubicBezTo>
                    <a:pt x="662" y="143"/>
                    <a:pt x="645" y="164"/>
                    <a:pt x="645" y="164"/>
                  </a:cubicBezTo>
                  <a:cubicBezTo>
                    <a:pt x="658" y="175"/>
                    <a:pt x="675" y="180"/>
                    <a:pt x="689" y="182"/>
                  </a:cubicBezTo>
                  <a:cubicBezTo>
                    <a:pt x="689" y="186"/>
                    <a:pt x="689" y="186"/>
                    <a:pt x="689" y="186"/>
                  </a:cubicBezTo>
                  <a:cubicBezTo>
                    <a:pt x="689" y="192"/>
                    <a:pt x="687" y="197"/>
                    <a:pt x="681" y="201"/>
                  </a:cubicBezTo>
                  <a:cubicBezTo>
                    <a:pt x="722" y="314"/>
                    <a:pt x="722" y="314"/>
                    <a:pt x="722" y="314"/>
                  </a:cubicBezTo>
                  <a:cubicBezTo>
                    <a:pt x="757" y="201"/>
                    <a:pt x="757" y="201"/>
                    <a:pt x="757" y="201"/>
                  </a:cubicBezTo>
                  <a:cubicBezTo>
                    <a:pt x="751" y="197"/>
                    <a:pt x="749" y="192"/>
                    <a:pt x="749" y="186"/>
                  </a:cubicBezTo>
                  <a:close/>
                  <a:moveTo>
                    <a:pt x="672" y="234"/>
                  </a:moveTo>
                  <a:cubicBezTo>
                    <a:pt x="658" y="211"/>
                    <a:pt x="658" y="211"/>
                    <a:pt x="658" y="211"/>
                  </a:cubicBezTo>
                  <a:cubicBezTo>
                    <a:pt x="641" y="217"/>
                    <a:pt x="615" y="226"/>
                    <a:pt x="608" y="228"/>
                  </a:cubicBezTo>
                  <a:cubicBezTo>
                    <a:pt x="599" y="232"/>
                    <a:pt x="596" y="237"/>
                    <a:pt x="594" y="242"/>
                  </a:cubicBezTo>
                  <a:cubicBezTo>
                    <a:pt x="594" y="242"/>
                    <a:pt x="593" y="244"/>
                    <a:pt x="593" y="248"/>
                  </a:cubicBezTo>
                  <a:cubicBezTo>
                    <a:pt x="604" y="252"/>
                    <a:pt x="613" y="255"/>
                    <a:pt x="617" y="256"/>
                  </a:cubicBezTo>
                  <a:cubicBezTo>
                    <a:pt x="632" y="262"/>
                    <a:pt x="642" y="272"/>
                    <a:pt x="648" y="287"/>
                  </a:cubicBezTo>
                  <a:cubicBezTo>
                    <a:pt x="649" y="290"/>
                    <a:pt x="651" y="293"/>
                    <a:pt x="656" y="341"/>
                  </a:cubicBezTo>
                  <a:cubicBezTo>
                    <a:pt x="677" y="344"/>
                    <a:pt x="699" y="345"/>
                    <a:pt x="719" y="345"/>
                  </a:cubicBezTo>
                  <a:cubicBezTo>
                    <a:pt x="719" y="320"/>
                    <a:pt x="719" y="320"/>
                    <a:pt x="719" y="320"/>
                  </a:cubicBezTo>
                  <a:cubicBezTo>
                    <a:pt x="658" y="245"/>
                    <a:pt x="658" y="245"/>
                    <a:pt x="658" y="245"/>
                  </a:cubicBezTo>
                  <a:lnTo>
                    <a:pt x="672" y="234"/>
                  </a:lnTo>
                  <a:close/>
                  <a:moveTo>
                    <a:pt x="430" y="263"/>
                  </a:moveTo>
                  <a:cubicBezTo>
                    <a:pt x="401" y="284"/>
                    <a:pt x="401" y="284"/>
                    <a:pt x="401" y="284"/>
                  </a:cubicBezTo>
                  <a:cubicBezTo>
                    <a:pt x="419" y="310"/>
                    <a:pt x="419" y="310"/>
                    <a:pt x="419" y="310"/>
                  </a:cubicBezTo>
                  <a:cubicBezTo>
                    <a:pt x="409" y="439"/>
                    <a:pt x="409" y="439"/>
                    <a:pt x="409" y="439"/>
                  </a:cubicBezTo>
                  <a:cubicBezTo>
                    <a:pt x="415" y="440"/>
                    <a:pt x="421" y="440"/>
                    <a:pt x="427" y="440"/>
                  </a:cubicBezTo>
                  <a:cubicBezTo>
                    <a:pt x="435" y="440"/>
                    <a:pt x="443" y="440"/>
                    <a:pt x="451" y="439"/>
                  </a:cubicBezTo>
                  <a:cubicBezTo>
                    <a:pt x="441" y="310"/>
                    <a:pt x="441" y="310"/>
                    <a:pt x="441" y="310"/>
                  </a:cubicBezTo>
                  <a:cubicBezTo>
                    <a:pt x="459" y="284"/>
                    <a:pt x="459" y="284"/>
                    <a:pt x="459" y="284"/>
                  </a:cubicBezTo>
                  <a:lnTo>
                    <a:pt x="430" y="263"/>
                  </a:lnTo>
                  <a:close/>
                  <a:moveTo>
                    <a:pt x="382" y="200"/>
                  </a:moveTo>
                  <a:cubicBezTo>
                    <a:pt x="382" y="205"/>
                    <a:pt x="381" y="209"/>
                    <a:pt x="379" y="213"/>
                  </a:cubicBezTo>
                  <a:cubicBezTo>
                    <a:pt x="383" y="217"/>
                    <a:pt x="403" y="239"/>
                    <a:pt x="430" y="257"/>
                  </a:cubicBezTo>
                  <a:cubicBezTo>
                    <a:pt x="457" y="239"/>
                    <a:pt x="477" y="218"/>
                    <a:pt x="481" y="213"/>
                  </a:cubicBezTo>
                  <a:cubicBezTo>
                    <a:pt x="479" y="209"/>
                    <a:pt x="478" y="205"/>
                    <a:pt x="478" y="200"/>
                  </a:cubicBezTo>
                  <a:cubicBezTo>
                    <a:pt x="478" y="186"/>
                    <a:pt x="478" y="186"/>
                    <a:pt x="478" y="186"/>
                  </a:cubicBezTo>
                  <a:cubicBezTo>
                    <a:pt x="500" y="158"/>
                    <a:pt x="514" y="115"/>
                    <a:pt x="514" y="84"/>
                  </a:cubicBezTo>
                  <a:cubicBezTo>
                    <a:pt x="514" y="34"/>
                    <a:pt x="476" y="0"/>
                    <a:pt x="430" y="0"/>
                  </a:cubicBezTo>
                  <a:cubicBezTo>
                    <a:pt x="384" y="0"/>
                    <a:pt x="346" y="34"/>
                    <a:pt x="346" y="84"/>
                  </a:cubicBezTo>
                  <a:cubicBezTo>
                    <a:pt x="346" y="115"/>
                    <a:pt x="360" y="158"/>
                    <a:pt x="382" y="186"/>
                  </a:cubicBezTo>
                  <a:lnTo>
                    <a:pt x="382" y="200"/>
                  </a:lnTo>
                  <a:close/>
                  <a:moveTo>
                    <a:pt x="354" y="233"/>
                  </a:moveTo>
                  <a:cubicBezTo>
                    <a:pt x="349" y="235"/>
                    <a:pt x="319" y="245"/>
                    <a:pt x="292" y="254"/>
                  </a:cubicBezTo>
                  <a:cubicBezTo>
                    <a:pt x="272" y="261"/>
                    <a:pt x="255" y="267"/>
                    <a:pt x="249" y="269"/>
                  </a:cubicBezTo>
                  <a:cubicBezTo>
                    <a:pt x="234" y="275"/>
                    <a:pt x="228" y="284"/>
                    <a:pt x="225" y="292"/>
                  </a:cubicBezTo>
                  <a:cubicBezTo>
                    <a:pt x="223" y="296"/>
                    <a:pt x="221" y="317"/>
                    <a:pt x="219" y="340"/>
                  </a:cubicBezTo>
                  <a:cubicBezTo>
                    <a:pt x="215" y="374"/>
                    <a:pt x="212" y="413"/>
                    <a:pt x="212" y="413"/>
                  </a:cubicBezTo>
                  <a:cubicBezTo>
                    <a:pt x="212" y="413"/>
                    <a:pt x="269" y="436"/>
                    <a:pt x="397" y="439"/>
                  </a:cubicBezTo>
                  <a:cubicBezTo>
                    <a:pt x="367" y="226"/>
                    <a:pt x="367" y="226"/>
                    <a:pt x="367" y="226"/>
                  </a:cubicBezTo>
                  <a:cubicBezTo>
                    <a:pt x="363" y="229"/>
                    <a:pt x="359" y="231"/>
                    <a:pt x="354" y="233"/>
                  </a:cubicBezTo>
                  <a:close/>
                  <a:moveTo>
                    <a:pt x="635" y="292"/>
                  </a:moveTo>
                  <a:cubicBezTo>
                    <a:pt x="632" y="284"/>
                    <a:pt x="626" y="275"/>
                    <a:pt x="612" y="269"/>
                  </a:cubicBezTo>
                  <a:cubicBezTo>
                    <a:pt x="608" y="268"/>
                    <a:pt x="600" y="265"/>
                    <a:pt x="590" y="262"/>
                  </a:cubicBezTo>
                  <a:cubicBezTo>
                    <a:pt x="561" y="251"/>
                    <a:pt x="513" y="235"/>
                    <a:pt x="506" y="233"/>
                  </a:cubicBezTo>
                  <a:cubicBezTo>
                    <a:pt x="501" y="231"/>
                    <a:pt x="497" y="229"/>
                    <a:pt x="493" y="226"/>
                  </a:cubicBezTo>
                  <a:cubicBezTo>
                    <a:pt x="464" y="439"/>
                    <a:pt x="464" y="439"/>
                    <a:pt x="464" y="439"/>
                  </a:cubicBezTo>
                  <a:cubicBezTo>
                    <a:pt x="588" y="435"/>
                    <a:pt x="648" y="413"/>
                    <a:pt x="648" y="413"/>
                  </a:cubicBezTo>
                  <a:cubicBezTo>
                    <a:pt x="648" y="413"/>
                    <a:pt x="645" y="374"/>
                    <a:pt x="641" y="340"/>
                  </a:cubicBezTo>
                  <a:cubicBezTo>
                    <a:pt x="639" y="316"/>
                    <a:pt x="637" y="296"/>
                    <a:pt x="635" y="292"/>
                  </a:cubicBezTo>
                  <a:close/>
                </a:path>
              </a:pathLst>
            </a:custGeom>
            <a:solidFill>
              <a:srgbClr val="E4AA00"/>
            </a:solidFill>
            <a:ln>
              <a:noFill/>
            </a:ln>
            <a:extLst/>
          </p:spPr>
          <p:txBody>
            <a:bodyPr vert="horz" wrap="square" lIns="52006" tIns="26004" rIns="52006" bIns="26004" numCol="1" anchor="t" anchorCtr="0" compatLnSpc="1">
              <a:prstTxWarp prst="textNoShape">
                <a:avLst/>
              </a:prstTxWarp>
            </a:bodyPr>
            <a:lstStyle/>
            <a:p>
              <a:endParaRPr lang="ru-RU" sz="1000" dirty="0">
                <a:solidFill>
                  <a:schemeClr val="bg2">
                    <a:lumMod val="75000"/>
                  </a:schemeClr>
                </a:solidFill>
              </a:endParaRPr>
            </a:p>
          </p:txBody>
        </p:sp>
      </p:grpSp>
      <p:sp>
        <p:nvSpPr>
          <p:cNvPr id="65" name="Скругленный прямоугольник 64"/>
          <p:cNvSpPr/>
          <p:nvPr/>
        </p:nvSpPr>
        <p:spPr>
          <a:xfrm>
            <a:off x="85197" y="2853158"/>
            <a:ext cx="3691514" cy="1315820"/>
          </a:xfrm>
          <a:prstGeom prst="roundRect">
            <a:avLst/>
          </a:prstGeom>
          <a:solidFill>
            <a:schemeClr val="bg1">
              <a:lumMod val="75000"/>
            </a:schemeClr>
          </a:solidFill>
          <a:ln>
            <a:noFill/>
          </a:ln>
          <a:scene3d>
            <a:camera prst="orthographicFront"/>
            <a:lightRig rig="threePt" dir="t"/>
          </a:scene3d>
          <a:sp3d>
            <a:bevelT w="139700" h="139700" prst="divot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800" b="1" dirty="0" smtClean="0">
                <a:solidFill>
                  <a:schemeClr val="tx1"/>
                </a:solidFill>
              </a:rPr>
              <a:t>СИСТЕМЫ 1С:ЗУП</a:t>
            </a:r>
            <a:r>
              <a:rPr lang="ru-RU" sz="2800" dirty="0" smtClean="0">
                <a:solidFill>
                  <a:schemeClr val="bg1"/>
                </a:solidFill>
              </a:rPr>
              <a:t> </a:t>
            </a:r>
          </a:p>
          <a:p>
            <a:pPr algn="ctr"/>
            <a:r>
              <a:rPr lang="ru-RU" sz="2800" b="1" dirty="0" smtClean="0">
                <a:solidFill>
                  <a:schemeClr val="tx1"/>
                </a:solidFill>
              </a:rPr>
              <a:t>48 БАЗ</a:t>
            </a:r>
            <a:endParaRPr lang="ru-RU" sz="2800" b="1" dirty="0">
              <a:solidFill>
                <a:schemeClr val="tx1"/>
              </a:solidFill>
            </a:endParaRPr>
          </a:p>
        </p:txBody>
      </p:sp>
      <p:sp>
        <p:nvSpPr>
          <p:cNvPr id="19" name="Скругленный прямоугольник 18"/>
          <p:cNvSpPr/>
          <p:nvPr/>
        </p:nvSpPr>
        <p:spPr>
          <a:xfrm>
            <a:off x="314416" y="4559196"/>
            <a:ext cx="3233076" cy="886691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57150">
            <a:solidFill>
              <a:schemeClr val="bg2">
                <a:lumMod val="75000"/>
              </a:schemeClr>
            </a:solidFill>
          </a:ln>
          <a:scene3d>
            <a:camera prst="orthographicFront"/>
            <a:lightRig rig="threePt" dir="t"/>
          </a:scene3d>
          <a:sp3d>
            <a:bevelT w="139700" prst="cross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000" b="1" dirty="0" smtClean="0">
                <a:solidFill>
                  <a:schemeClr val="tx1"/>
                </a:solidFill>
              </a:rPr>
              <a:t>ЗАРПЛАТНЫЕ ВЕДОМОСТИ</a:t>
            </a:r>
            <a:endParaRPr lang="ru-RU" sz="2000" b="1" dirty="0">
              <a:solidFill>
                <a:schemeClr val="tx1"/>
              </a:solidFill>
            </a:endParaRPr>
          </a:p>
        </p:txBody>
      </p:sp>
      <p:sp>
        <p:nvSpPr>
          <p:cNvPr id="66" name="Скругленный прямоугольник 65"/>
          <p:cNvSpPr/>
          <p:nvPr/>
        </p:nvSpPr>
        <p:spPr>
          <a:xfrm>
            <a:off x="4606438" y="4559197"/>
            <a:ext cx="3233076" cy="886691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57150">
            <a:solidFill>
              <a:schemeClr val="bg2">
                <a:lumMod val="75000"/>
              </a:schemeClr>
            </a:solidFill>
          </a:ln>
          <a:scene3d>
            <a:camera prst="orthographicFront"/>
            <a:lightRig rig="threePt" dir="t"/>
          </a:scene3d>
          <a:sp3d>
            <a:bevelT w="139700" prst="cross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000" b="1" dirty="0" smtClean="0">
                <a:solidFill>
                  <a:schemeClr val="tx1"/>
                </a:solidFill>
              </a:rPr>
              <a:t>ПЛАТЕЖНЫЕ ДОКУМЕНТЫ</a:t>
            </a:r>
            <a:endParaRPr lang="ru-RU" sz="2000" b="1" dirty="0">
              <a:solidFill>
                <a:schemeClr val="tx1"/>
              </a:solidFill>
            </a:endParaRPr>
          </a:p>
        </p:txBody>
      </p:sp>
      <p:cxnSp>
        <p:nvCxnSpPr>
          <p:cNvPr id="28" name="Прямая со стрелкой 27"/>
          <p:cNvCxnSpPr>
            <a:stCxn id="65" idx="2"/>
            <a:endCxn id="19" idx="0"/>
          </p:cNvCxnSpPr>
          <p:nvPr/>
        </p:nvCxnSpPr>
        <p:spPr>
          <a:xfrm>
            <a:off x="1930954" y="4168978"/>
            <a:ext cx="0" cy="390218"/>
          </a:xfrm>
          <a:prstGeom prst="straightConnector1">
            <a:avLst/>
          </a:prstGeom>
          <a:ln w="57150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Прямая со стрелкой 44"/>
          <p:cNvCxnSpPr>
            <a:stCxn id="19" idx="2"/>
          </p:cNvCxnSpPr>
          <p:nvPr/>
        </p:nvCxnSpPr>
        <p:spPr>
          <a:xfrm>
            <a:off x="1930954" y="5445887"/>
            <a:ext cx="0" cy="474179"/>
          </a:xfrm>
          <a:prstGeom prst="straightConnector1">
            <a:avLst/>
          </a:prstGeom>
          <a:ln w="57150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1" name="Скругленный прямоугольник 70"/>
          <p:cNvSpPr/>
          <p:nvPr/>
        </p:nvSpPr>
        <p:spPr>
          <a:xfrm>
            <a:off x="85198" y="887563"/>
            <a:ext cx="11998570" cy="532488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57150">
            <a:solidFill>
              <a:schemeClr val="bg2">
                <a:lumMod val="75000"/>
              </a:schemeClr>
            </a:solidFill>
          </a:ln>
          <a:scene3d>
            <a:camera prst="orthographicFront"/>
            <a:lightRig rig="threePt" dir="t"/>
          </a:scene3d>
          <a:sp3d>
            <a:bevelT w="139700" prst="cross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000" b="1" dirty="0" smtClean="0">
                <a:solidFill>
                  <a:schemeClr val="tx1"/>
                </a:solidFill>
              </a:rPr>
              <a:t>КОНТРАГЕНТЫ/ ФИЗ ЛИЦА / ДОГОВОРЫ / БАНКОВСКИЕ СЧЕТА </a:t>
            </a:r>
            <a:endParaRPr lang="ru-RU" sz="2000" b="1" dirty="0">
              <a:solidFill>
                <a:schemeClr val="tx1"/>
              </a:solidFill>
            </a:endParaRPr>
          </a:p>
        </p:txBody>
      </p:sp>
      <p:cxnSp>
        <p:nvCxnSpPr>
          <p:cNvPr id="77" name="Прямая со стрелкой 76"/>
          <p:cNvCxnSpPr>
            <a:stCxn id="71" idx="2"/>
            <a:endCxn id="4" idx="0"/>
          </p:cNvCxnSpPr>
          <p:nvPr/>
        </p:nvCxnSpPr>
        <p:spPr>
          <a:xfrm flipH="1">
            <a:off x="6084482" y="1420051"/>
            <a:ext cx="1" cy="305495"/>
          </a:xfrm>
          <a:prstGeom prst="straightConnector1">
            <a:avLst/>
          </a:prstGeom>
          <a:ln w="57150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" name="Прямая со стрелкой 82"/>
          <p:cNvCxnSpPr>
            <a:endCxn id="65" idx="0"/>
          </p:cNvCxnSpPr>
          <p:nvPr/>
        </p:nvCxnSpPr>
        <p:spPr>
          <a:xfrm>
            <a:off x="1930954" y="2544169"/>
            <a:ext cx="0" cy="308989"/>
          </a:xfrm>
          <a:prstGeom prst="straightConnector1">
            <a:avLst/>
          </a:prstGeom>
          <a:ln w="57150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9" name="Прямая со стрелкой 88"/>
          <p:cNvCxnSpPr>
            <a:endCxn id="8" idx="0"/>
          </p:cNvCxnSpPr>
          <p:nvPr/>
        </p:nvCxnSpPr>
        <p:spPr>
          <a:xfrm>
            <a:off x="6221611" y="2544169"/>
            <a:ext cx="0" cy="308989"/>
          </a:xfrm>
          <a:prstGeom prst="straightConnector1">
            <a:avLst/>
          </a:prstGeom>
          <a:ln w="57150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1" name="Прямая со стрелкой 90"/>
          <p:cNvCxnSpPr>
            <a:endCxn id="9" idx="0"/>
          </p:cNvCxnSpPr>
          <p:nvPr/>
        </p:nvCxnSpPr>
        <p:spPr>
          <a:xfrm>
            <a:off x="10369120" y="2544169"/>
            <a:ext cx="0" cy="314190"/>
          </a:xfrm>
          <a:prstGeom prst="straightConnector1">
            <a:avLst/>
          </a:prstGeom>
          <a:ln w="57150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3" name="Прямая со стрелкой 92"/>
          <p:cNvCxnSpPr/>
          <p:nvPr/>
        </p:nvCxnSpPr>
        <p:spPr>
          <a:xfrm flipH="1">
            <a:off x="6221610" y="4092328"/>
            <a:ext cx="1365" cy="474178"/>
          </a:xfrm>
          <a:prstGeom prst="straightConnector1">
            <a:avLst/>
          </a:prstGeom>
          <a:ln w="57150">
            <a:solidFill>
              <a:schemeClr val="bg1">
                <a:lumMod val="50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428578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96" name="Слайд think-cell" r:id="rId6" imgW="347" imgH="346" progId="TCLayout.ActiveDocument.1">
                  <p:embed/>
                </p:oleObj>
              </mc:Choice>
              <mc:Fallback>
                <p:oleObj name="Слайд think-cell" r:id="rId6" imgW="347" imgH="346" progId="TCLayout.ActiveDocument.1">
                  <p:embed/>
                  <p:pic>
                    <p:nvPicPr>
                      <p:cNvPr id="2" name="Объект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Прямоугольник 6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ru-RU" sz="2462" b="1" dirty="0">
              <a:latin typeface="Calibri" panose="020F0502020204030204" pitchFamily="34" charset="0"/>
              <a:ea typeface="+mj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3600" dirty="0" smtClean="0"/>
              <a:t>Платежный процесс в 1С:УХ</a:t>
            </a:r>
            <a:endParaRPr lang="ru-RU" sz="3600" dirty="0"/>
          </a:p>
        </p:txBody>
      </p:sp>
      <p:sp>
        <p:nvSpPr>
          <p:cNvPr id="6" name="Скругленный прямоугольник 5"/>
          <p:cNvSpPr/>
          <p:nvPr/>
        </p:nvSpPr>
        <p:spPr>
          <a:xfrm>
            <a:off x="409299" y="2283663"/>
            <a:ext cx="8255726" cy="618779"/>
          </a:xfrm>
          <a:prstGeom prst="roundRect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  <a:scene3d>
            <a:camera prst="orthographicFront"/>
            <a:lightRig rig="threePt" dir="t"/>
          </a:scene3d>
          <a:sp3d>
            <a:bevelT prst="angle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800" b="1" dirty="0" smtClean="0">
                <a:solidFill>
                  <a:schemeClr val="tx1"/>
                </a:solidFill>
              </a:rPr>
              <a:t>Заявка на платеж (ЗНП)</a:t>
            </a:r>
            <a:endParaRPr lang="ru-RU" sz="2800" b="1" dirty="0">
              <a:solidFill>
                <a:schemeClr val="tx1"/>
              </a:solidFill>
            </a:endParaRPr>
          </a:p>
        </p:txBody>
      </p:sp>
      <p:graphicFrame>
        <p:nvGraphicFramePr>
          <p:cNvPr id="8" name="Схема 7"/>
          <p:cNvGraphicFramePr/>
          <p:nvPr>
            <p:extLst>
              <p:ext uri="{D42A27DB-BD31-4B8C-83A1-F6EECF244321}">
                <p14:modId xmlns:p14="http://schemas.microsoft.com/office/powerpoint/2010/main" val="2879791225"/>
              </p:ext>
            </p:extLst>
          </p:nvPr>
        </p:nvGraphicFramePr>
        <p:xfrm>
          <a:off x="409298" y="3024362"/>
          <a:ext cx="7848289" cy="53122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8" r:lo="rId9" r:qs="rId10" r:cs="rId11"/>
          </a:graphicData>
        </a:graphic>
      </p:graphicFrame>
      <p:sp>
        <p:nvSpPr>
          <p:cNvPr id="9" name="Скругленный прямоугольник 8"/>
          <p:cNvSpPr/>
          <p:nvPr/>
        </p:nvSpPr>
        <p:spPr>
          <a:xfrm>
            <a:off x="421998" y="3747205"/>
            <a:ext cx="8255727" cy="656843"/>
          </a:xfrm>
          <a:prstGeom prst="roundRect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  <a:scene3d>
            <a:camera prst="orthographicFront"/>
            <a:lightRig rig="threePt" dir="t"/>
          </a:scene3d>
          <a:sp3d>
            <a:bevelT prst="angle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3200" b="1" dirty="0" smtClean="0">
                <a:solidFill>
                  <a:schemeClr val="tx1"/>
                </a:solidFill>
              </a:rPr>
              <a:t>Реестр платежей на неделю</a:t>
            </a:r>
            <a:endParaRPr lang="ru-RU" sz="2800" b="1" dirty="0">
              <a:solidFill>
                <a:schemeClr val="bg1"/>
              </a:solidFill>
            </a:endParaRPr>
          </a:p>
        </p:txBody>
      </p:sp>
      <p:graphicFrame>
        <p:nvGraphicFramePr>
          <p:cNvPr id="10" name="Схема 9"/>
          <p:cNvGraphicFramePr/>
          <p:nvPr>
            <p:extLst>
              <p:ext uri="{D42A27DB-BD31-4B8C-83A1-F6EECF244321}">
                <p14:modId xmlns:p14="http://schemas.microsoft.com/office/powerpoint/2010/main" val="1694949705"/>
              </p:ext>
            </p:extLst>
          </p:nvPr>
        </p:nvGraphicFramePr>
        <p:xfrm>
          <a:off x="409298" y="4526590"/>
          <a:ext cx="8255728" cy="53122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3" r:lo="rId14" r:qs="rId15" r:cs="rId16"/>
          </a:graphicData>
        </a:graphic>
      </p:graphicFrame>
      <p:cxnSp>
        <p:nvCxnSpPr>
          <p:cNvPr id="11" name="Соединительная линия уступом 10"/>
          <p:cNvCxnSpPr>
            <a:stCxn id="6" idx="3"/>
            <a:endCxn id="9" idx="3"/>
          </p:cNvCxnSpPr>
          <p:nvPr/>
        </p:nvCxnSpPr>
        <p:spPr>
          <a:xfrm>
            <a:off x="8665025" y="2593053"/>
            <a:ext cx="12700" cy="1482574"/>
          </a:xfrm>
          <a:prstGeom prst="bentConnector3">
            <a:avLst>
              <a:gd name="adj1" fmla="val 1900000"/>
            </a:avLst>
          </a:prstGeom>
          <a:ln>
            <a:noFill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Скругленный прямоугольник 11"/>
          <p:cNvSpPr/>
          <p:nvPr/>
        </p:nvSpPr>
        <p:spPr>
          <a:xfrm>
            <a:off x="409294" y="6012638"/>
            <a:ext cx="5077105" cy="742725"/>
          </a:xfrm>
          <a:prstGeom prst="roundRect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  <a:scene3d>
            <a:camera prst="orthographicFront"/>
            <a:lightRig rig="threePt" dir="t"/>
          </a:scene3d>
          <a:sp3d>
            <a:bevelT prst="angle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3200" b="1" dirty="0" smtClean="0">
                <a:solidFill>
                  <a:schemeClr val="tx1"/>
                </a:solidFill>
              </a:rPr>
              <a:t>Платежные поручения </a:t>
            </a:r>
            <a:endParaRPr lang="ru-RU" sz="3200" b="1" dirty="0">
              <a:solidFill>
                <a:schemeClr val="tx1"/>
              </a:solidFill>
            </a:endParaRPr>
          </a:p>
        </p:txBody>
      </p:sp>
      <p:cxnSp>
        <p:nvCxnSpPr>
          <p:cNvPr id="14" name="Соединительная линия уступом 13"/>
          <p:cNvCxnSpPr>
            <a:stCxn id="9" idx="1"/>
            <a:endCxn id="12" idx="1"/>
          </p:cNvCxnSpPr>
          <p:nvPr/>
        </p:nvCxnSpPr>
        <p:spPr>
          <a:xfrm rot="10800000" flipV="1">
            <a:off x="409294" y="4075627"/>
            <a:ext cx="12704" cy="2308374"/>
          </a:xfrm>
          <a:prstGeom prst="bentConnector3">
            <a:avLst>
              <a:gd name="adj1" fmla="val 1899433"/>
            </a:avLst>
          </a:prstGeom>
          <a:ln>
            <a:noFill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Соединительная линия уступом 14"/>
          <p:cNvCxnSpPr>
            <a:stCxn id="6" idx="3"/>
            <a:endCxn id="9" idx="3"/>
          </p:cNvCxnSpPr>
          <p:nvPr/>
        </p:nvCxnSpPr>
        <p:spPr>
          <a:xfrm>
            <a:off x="8665025" y="2593053"/>
            <a:ext cx="12700" cy="1482574"/>
          </a:xfrm>
          <a:prstGeom prst="bentConnector3">
            <a:avLst>
              <a:gd name="adj1" fmla="val 1900000"/>
            </a:avLst>
          </a:prstGeom>
          <a:ln w="57150">
            <a:prstDash val="sysDash"/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" name="Соединительная линия уступом 15"/>
          <p:cNvCxnSpPr>
            <a:stCxn id="9" idx="1"/>
            <a:endCxn id="39" idx="1"/>
          </p:cNvCxnSpPr>
          <p:nvPr/>
        </p:nvCxnSpPr>
        <p:spPr>
          <a:xfrm rot="10800000" flipV="1">
            <a:off x="421998" y="4075627"/>
            <a:ext cx="12700" cy="1416970"/>
          </a:xfrm>
          <a:prstGeom prst="bentConnector3">
            <a:avLst>
              <a:gd name="adj1" fmla="val 1800000"/>
            </a:avLst>
          </a:prstGeom>
          <a:ln w="57150">
            <a:prstDash val="sysDash"/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8" name="Скругленный прямоугольник 17"/>
          <p:cNvSpPr/>
          <p:nvPr/>
        </p:nvSpPr>
        <p:spPr>
          <a:xfrm>
            <a:off x="409296" y="923400"/>
            <a:ext cx="8255726" cy="618779"/>
          </a:xfrm>
          <a:prstGeom prst="roundRect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  <a:scene3d>
            <a:camera prst="orthographicFront"/>
            <a:lightRig rig="threePt" dir="t"/>
          </a:scene3d>
          <a:sp3d>
            <a:bevelT prst="angle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3200" b="1" dirty="0" smtClean="0">
                <a:solidFill>
                  <a:schemeClr val="tx1"/>
                </a:solidFill>
              </a:rPr>
              <a:t>Договор</a:t>
            </a:r>
            <a:endParaRPr lang="ru-RU" sz="3200" b="1" dirty="0">
              <a:solidFill>
                <a:schemeClr val="tx1"/>
              </a:solidFill>
            </a:endParaRPr>
          </a:p>
        </p:txBody>
      </p:sp>
      <p:graphicFrame>
        <p:nvGraphicFramePr>
          <p:cNvPr id="19" name="Схема 18"/>
          <p:cNvGraphicFramePr/>
          <p:nvPr>
            <p:extLst>
              <p:ext uri="{D42A27DB-BD31-4B8C-83A1-F6EECF244321}">
                <p14:modId xmlns:p14="http://schemas.microsoft.com/office/powerpoint/2010/main" val="2090810025"/>
              </p:ext>
            </p:extLst>
          </p:nvPr>
        </p:nvGraphicFramePr>
        <p:xfrm>
          <a:off x="409295" y="1664099"/>
          <a:ext cx="7745655" cy="53122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8" r:lo="rId19" r:qs="rId20" r:cs="rId21"/>
          </a:graphicData>
        </a:graphic>
      </p:graphicFrame>
      <p:cxnSp>
        <p:nvCxnSpPr>
          <p:cNvPr id="20" name="Соединительная линия уступом 19"/>
          <p:cNvCxnSpPr/>
          <p:nvPr/>
        </p:nvCxnSpPr>
        <p:spPr>
          <a:xfrm rot="10800000" flipH="1" flipV="1">
            <a:off x="396595" y="1315757"/>
            <a:ext cx="1" cy="1513116"/>
          </a:xfrm>
          <a:prstGeom prst="bentConnector3">
            <a:avLst>
              <a:gd name="adj1" fmla="val -22860000000"/>
            </a:avLst>
          </a:prstGeom>
          <a:ln w="57150">
            <a:prstDash val="sysDash"/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9" name="Скругленный прямоугольник 38"/>
          <p:cNvSpPr/>
          <p:nvPr/>
        </p:nvSpPr>
        <p:spPr>
          <a:xfrm>
            <a:off x="421998" y="5164175"/>
            <a:ext cx="8255727" cy="656843"/>
          </a:xfrm>
          <a:prstGeom prst="roundRect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  <a:scene3d>
            <a:camera prst="orthographicFront"/>
            <a:lightRig rig="threePt" dir="t"/>
          </a:scene3d>
          <a:sp3d>
            <a:bevelT prst="angle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3200" b="1" dirty="0" smtClean="0">
                <a:solidFill>
                  <a:schemeClr val="tx1"/>
                </a:solidFill>
              </a:rPr>
              <a:t>Реестр платежей на день</a:t>
            </a:r>
            <a:endParaRPr lang="ru-RU" sz="3200" b="1" dirty="0">
              <a:solidFill>
                <a:schemeClr val="tx1"/>
              </a:solidFill>
            </a:endParaRPr>
          </a:p>
        </p:txBody>
      </p:sp>
      <p:cxnSp>
        <p:nvCxnSpPr>
          <p:cNvPr id="44" name="Соединительная линия уступом 43"/>
          <p:cNvCxnSpPr>
            <a:endCxn id="12" idx="3"/>
          </p:cNvCxnSpPr>
          <p:nvPr/>
        </p:nvCxnSpPr>
        <p:spPr>
          <a:xfrm rot="10800000" flipV="1">
            <a:off x="5486399" y="5492595"/>
            <a:ext cx="3191324" cy="891406"/>
          </a:xfrm>
          <a:prstGeom prst="bentConnector3">
            <a:avLst>
              <a:gd name="adj1" fmla="val -7884"/>
            </a:avLst>
          </a:prstGeom>
          <a:ln w="57150">
            <a:prstDash val="sysDash"/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7" name="Скругленный прямоугольник 46"/>
          <p:cNvSpPr/>
          <p:nvPr/>
        </p:nvSpPr>
        <p:spPr>
          <a:xfrm>
            <a:off x="9085163" y="2262665"/>
            <a:ext cx="2986764" cy="2141383"/>
          </a:xfrm>
          <a:prstGeom prst="roundRect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  <a:scene3d>
            <a:camera prst="orthographicFront"/>
            <a:lightRig rig="threePt" dir="t"/>
          </a:scene3d>
          <a:sp3d>
            <a:bevelT prst="angle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800" b="1" dirty="0" smtClean="0">
                <a:solidFill>
                  <a:schemeClr val="tx1"/>
                </a:solidFill>
              </a:rPr>
              <a:t>Плановая ЗНП</a:t>
            </a:r>
          </a:p>
          <a:p>
            <a:pPr algn="ctr"/>
            <a:r>
              <a:rPr lang="ru-RU" sz="2000" b="1" i="1" dirty="0" smtClean="0">
                <a:solidFill>
                  <a:sysClr val="windowText" lastClr="000000"/>
                </a:solidFill>
              </a:rPr>
              <a:t>резерв на отпускные, увольнительные, командировочные</a:t>
            </a:r>
            <a:endParaRPr lang="ru-RU" sz="2000" b="1" i="1" dirty="0">
              <a:solidFill>
                <a:sysClr val="windowText" lastClr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53518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23" name="Слайд think-cell" r:id="rId6" imgW="347" imgH="346" progId="TCLayout.ActiveDocument.1">
                  <p:embed/>
                </p:oleObj>
              </mc:Choice>
              <mc:Fallback>
                <p:oleObj name="Слайд think-cell" r:id="rId6" imgW="347" imgH="346" progId="TCLayout.ActiveDocument.1">
                  <p:embed/>
                  <p:pic>
                    <p:nvPicPr>
                      <p:cNvPr id="2" name="Объект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Прямоугольник 6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ru-RU" sz="2462" b="1" dirty="0">
              <a:latin typeface="Calibri" panose="020F0502020204030204" pitchFamily="34" charset="0"/>
              <a:ea typeface="+mj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3498981" y="180850"/>
            <a:ext cx="8693019" cy="494452"/>
          </a:xfrm>
        </p:spPr>
        <p:txBody>
          <a:bodyPr/>
          <a:lstStyle/>
          <a:p>
            <a:r>
              <a:rPr lang="ru-RU" sz="3600" dirty="0"/>
              <a:t>Ролевая модель в 1С:УХ </a:t>
            </a:r>
            <a:r>
              <a:rPr lang="ru-RU" sz="3600" dirty="0">
                <a:solidFill>
                  <a:schemeClr val="bg1"/>
                </a:solidFill>
              </a:rPr>
              <a:t>(матрица ролей)</a:t>
            </a:r>
            <a:br>
              <a:rPr lang="ru-RU" sz="3600" dirty="0">
                <a:solidFill>
                  <a:schemeClr val="bg1"/>
                </a:solidFill>
              </a:rPr>
            </a:br>
            <a:endParaRPr lang="en-US" sz="3600" dirty="0">
              <a:solidFill>
                <a:schemeClr val="bg1"/>
              </a:solidFill>
            </a:endParaRP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3"/>
          </p:nvPr>
        </p:nvSpPr>
        <p:spPr>
          <a:xfrm>
            <a:off x="-194271" y="6365016"/>
            <a:ext cx="667730" cy="414443"/>
          </a:xfrm>
        </p:spPr>
        <p:txBody>
          <a:bodyPr/>
          <a:lstStyle/>
          <a:p>
            <a:pPr>
              <a:defRPr/>
            </a:pPr>
            <a:fld id="{6113E31D-E2AB-40D1-8B51-AFA5AFEF393A}" type="slidenum">
              <a:rPr lang="en-US" smtClean="0"/>
              <a:pPr>
                <a:defRPr/>
              </a:pPr>
              <a:t>14</a:t>
            </a:fld>
            <a:endParaRPr lang="en-US" dirty="0"/>
          </a:p>
        </p:txBody>
      </p:sp>
      <p:graphicFrame>
        <p:nvGraphicFramePr>
          <p:cNvPr id="158" name="Таблица 15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23317285"/>
              </p:ext>
            </p:extLst>
          </p:nvPr>
        </p:nvGraphicFramePr>
        <p:xfrm>
          <a:off x="289886" y="1197691"/>
          <a:ext cx="11324841" cy="5041056"/>
        </p:xfrm>
        <a:graphic>
          <a:graphicData uri="http://schemas.openxmlformats.org/drawingml/2006/table">
            <a:tbl>
              <a:tblPr firstRow="1" bandRow="1"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tableStyleId>{5C22544A-7EE6-4342-B048-85BDC9FD1C3A}</a:tableStyleId>
              </a:tblPr>
              <a:tblGrid>
                <a:gridCol w="1299279">
                  <a:extLst>
                    <a:ext uri="{9D8B030D-6E8A-4147-A177-3AD203B41FA5}">
                      <a16:colId xmlns:a16="http://schemas.microsoft.com/office/drawing/2014/main" xmlns="" val="2499486553"/>
                    </a:ext>
                  </a:extLst>
                </a:gridCol>
                <a:gridCol w="1018549">
                  <a:extLst>
                    <a:ext uri="{9D8B030D-6E8A-4147-A177-3AD203B41FA5}">
                      <a16:colId xmlns:a16="http://schemas.microsoft.com/office/drawing/2014/main" xmlns="" val="3255676489"/>
                    </a:ext>
                  </a:extLst>
                </a:gridCol>
                <a:gridCol w="1158736">
                  <a:extLst>
                    <a:ext uri="{9D8B030D-6E8A-4147-A177-3AD203B41FA5}">
                      <a16:colId xmlns:a16="http://schemas.microsoft.com/office/drawing/2014/main" xmlns="" val="441822564"/>
                    </a:ext>
                  </a:extLst>
                </a:gridCol>
                <a:gridCol w="970156">
                  <a:extLst>
                    <a:ext uri="{9D8B030D-6E8A-4147-A177-3AD203B41FA5}">
                      <a16:colId xmlns:a16="http://schemas.microsoft.com/office/drawing/2014/main" xmlns="" val="3370730456"/>
                    </a:ext>
                  </a:extLst>
                </a:gridCol>
                <a:gridCol w="917628">
                  <a:extLst>
                    <a:ext uri="{9D8B030D-6E8A-4147-A177-3AD203B41FA5}">
                      <a16:colId xmlns:a16="http://schemas.microsoft.com/office/drawing/2014/main" xmlns="" val="1727998358"/>
                    </a:ext>
                  </a:extLst>
                </a:gridCol>
                <a:gridCol w="1029132">
                  <a:extLst>
                    <a:ext uri="{9D8B030D-6E8A-4147-A177-3AD203B41FA5}">
                      <a16:colId xmlns:a16="http://schemas.microsoft.com/office/drawing/2014/main" xmlns="" val="374116583"/>
                    </a:ext>
                  </a:extLst>
                </a:gridCol>
                <a:gridCol w="966661">
                  <a:extLst>
                    <a:ext uri="{9D8B030D-6E8A-4147-A177-3AD203B41FA5}">
                      <a16:colId xmlns:a16="http://schemas.microsoft.com/office/drawing/2014/main" xmlns="" val="2930554776"/>
                    </a:ext>
                  </a:extLst>
                </a:gridCol>
                <a:gridCol w="1078739">
                  <a:extLst>
                    <a:ext uri="{9D8B030D-6E8A-4147-A177-3AD203B41FA5}">
                      <a16:colId xmlns:a16="http://schemas.microsoft.com/office/drawing/2014/main" xmlns="" val="1589329430"/>
                    </a:ext>
                  </a:extLst>
                </a:gridCol>
                <a:gridCol w="1022211">
                  <a:extLst>
                    <a:ext uri="{9D8B030D-6E8A-4147-A177-3AD203B41FA5}">
                      <a16:colId xmlns:a16="http://schemas.microsoft.com/office/drawing/2014/main" xmlns="" val="1419149024"/>
                    </a:ext>
                  </a:extLst>
                </a:gridCol>
                <a:gridCol w="958839">
                  <a:extLst>
                    <a:ext uri="{9D8B030D-6E8A-4147-A177-3AD203B41FA5}">
                      <a16:colId xmlns:a16="http://schemas.microsoft.com/office/drawing/2014/main" xmlns="" val="2180924531"/>
                    </a:ext>
                  </a:extLst>
                </a:gridCol>
                <a:gridCol w="904911">
                  <a:extLst>
                    <a:ext uri="{9D8B030D-6E8A-4147-A177-3AD203B41FA5}">
                      <a16:colId xmlns:a16="http://schemas.microsoft.com/office/drawing/2014/main" xmlns="" val="1285775159"/>
                    </a:ext>
                  </a:extLst>
                </a:gridCol>
              </a:tblGrid>
              <a:tr h="623880"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/>
                        <a:t>Пользователь / Роль</a:t>
                      </a:r>
                      <a:endParaRPr lang="ru-RU" sz="1200" dirty="0"/>
                    </a:p>
                  </a:txBody>
                  <a:tcPr marL="86975" marR="86975" marT="43488" marB="43488" anchor="ctr"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err="1" smtClean="0"/>
                        <a:t>Испол</a:t>
                      </a:r>
                      <a:r>
                        <a:rPr lang="ru-RU" sz="1200" dirty="0" smtClean="0"/>
                        <a:t>-ль</a:t>
                      </a:r>
                      <a:r>
                        <a:rPr lang="ru-RU" sz="1200" baseline="0" dirty="0" smtClean="0"/>
                        <a:t> ЦФО</a:t>
                      </a:r>
                      <a:endParaRPr lang="ru-RU" sz="1200" dirty="0"/>
                    </a:p>
                  </a:txBody>
                  <a:tcPr marL="86975" marR="86975" marT="43488" marB="43488" anchor="ctr"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/>
                        <a:t>Рук-ль ЦФО</a:t>
                      </a:r>
                    </a:p>
                  </a:txBody>
                  <a:tcPr marL="86975" marR="86975" marT="43488" marB="43488" anchor="ctr"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12544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Экономист</a:t>
                      </a:r>
                    </a:p>
                  </a:txBody>
                  <a:tcPr marL="86975" marR="86975" marT="43488" marB="43488" anchor="ctr"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/>
                        <a:t>Закупщик</a:t>
                      </a:r>
                    </a:p>
                  </a:txBody>
                  <a:tcPr marL="86975" marR="86975" marT="43488" marB="43488" anchor="ctr"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/>
                        <a:t>Рук-ль</a:t>
                      </a:r>
                      <a:r>
                        <a:rPr lang="ru-RU" sz="1200" baseline="0" dirty="0" smtClean="0"/>
                        <a:t> ДЗО</a:t>
                      </a:r>
                      <a:endParaRPr lang="ru-RU" sz="1200" dirty="0"/>
                    </a:p>
                  </a:txBody>
                  <a:tcPr marL="86975" marR="86975" marT="43488" marB="43488" anchor="ctr"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12544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 smtClean="0"/>
                        <a:t>Бухгалтер</a:t>
                      </a:r>
                    </a:p>
                    <a:p>
                      <a:pPr algn="ctr"/>
                      <a:endParaRPr lang="ru-RU" sz="1200" dirty="0"/>
                    </a:p>
                  </a:txBody>
                  <a:tcPr marL="86975" marR="86975" marT="43488" marB="43488" anchor="ctr"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12544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 smtClean="0"/>
                        <a:t>Рук-ль</a:t>
                      </a:r>
                      <a:r>
                        <a:rPr lang="ru-RU" sz="1200" baseline="0" dirty="0" smtClean="0"/>
                        <a:t> ЕРЦ</a:t>
                      </a:r>
                      <a:endParaRPr lang="ru-RU" sz="1200" dirty="0" smtClean="0"/>
                    </a:p>
                    <a:p>
                      <a:pPr algn="ctr"/>
                      <a:endParaRPr lang="ru-RU" sz="1200" dirty="0"/>
                    </a:p>
                  </a:txBody>
                  <a:tcPr marL="86975" marR="86975" marT="43488" marB="43488" anchor="ctr"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12544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 err="1" smtClean="0"/>
                        <a:t>Операцио-нист</a:t>
                      </a:r>
                      <a:endParaRPr lang="ru-RU" sz="1200" dirty="0" smtClean="0"/>
                    </a:p>
                    <a:p>
                      <a:pPr algn="ctr"/>
                      <a:endParaRPr lang="ru-RU" sz="1200" dirty="0"/>
                    </a:p>
                  </a:txBody>
                  <a:tcPr marL="86975" marR="86975" marT="43488" marB="43488" anchor="ctr"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/>
                        <a:t>Фин.</a:t>
                      </a:r>
                    </a:p>
                    <a:p>
                      <a:pPr algn="ctr"/>
                      <a:r>
                        <a:rPr lang="ru-RU" sz="1200" dirty="0" smtClean="0"/>
                        <a:t>контролер</a:t>
                      </a:r>
                    </a:p>
                    <a:p>
                      <a:pPr algn="ctr"/>
                      <a:endParaRPr lang="ru-RU" sz="1200" dirty="0"/>
                    </a:p>
                  </a:txBody>
                  <a:tcPr marL="86975" marR="86975" marT="43488" marB="43488" anchor="ctr"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12544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 smtClean="0"/>
                        <a:t>Казначей УК</a:t>
                      </a:r>
                    </a:p>
                    <a:p>
                      <a:pPr algn="ctr"/>
                      <a:endParaRPr lang="ru-RU" sz="1200" dirty="0"/>
                    </a:p>
                  </a:txBody>
                  <a:tcPr marL="86975" marR="86975" marT="43488" marB="43488" anchor="ctr">
                    <a:solidFill>
                      <a:schemeClr val="bg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722929914"/>
                  </a:ext>
                </a:extLst>
              </a:tr>
              <a:tr h="415084">
                <a:tc>
                  <a:txBody>
                    <a:bodyPr/>
                    <a:lstStyle/>
                    <a:p>
                      <a:r>
                        <a:rPr lang="ru-RU" sz="1200" dirty="0" smtClean="0"/>
                        <a:t>Пользователь 1</a:t>
                      </a:r>
                      <a:endParaRPr lang="ru-RU" sz="1200" dirty="0"/>
                    </a:p>
                  </a:txBody>
                  <a:tcPr marL="86975" marR="86975" marT="43488" marB="43488"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200" dirty="0" smtClean="0"/>
                        <a:t>+</a:t>
                      </a:r>
                      <a:endParaRPr lang="ru-RU" sz="2200" dirty="0"/>
                    </a:p>
                  </a:txBody>
                  <a:tcPr marL="86975" marR="86975" marT="43488" marB="43488"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2200" dirty="0"/>
                    </a:p>
                  </a:txBody>
                  <a:tcPr marL="86975" marR="86975" marT="43488" marB="43488"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2200" dirty="0"/>
                    </a:p>
                  </a:txBody>
                  <a:tcPr marL="86975" marR="86975" marT="43488" marB="43488"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2200" dirty="0"/>
                    </a:p>
                  </a:txBody>
                  <a:tcPr marL="86975" marR="86975" marT="43488" marB="43488"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2200" dirty="0"/>
                    </a:p>
                  </a:txBody>
                  <a:tcPr marL="86975" marR="86975" marT="43488" marB="43488"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2200" dirty="0"/>
                    </a:p>
                  </a:txBody>
                  <a:tcPr marL="86975" marR="86975" marT="43488" marB="43488"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2200" dirty="0"/>
                    </a:p>
                  </a:txBody>
                  <a:tcPr marL="86975" marR="86975" marT="43488" marB="43488"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2200" dirty="0"/>
                    </a:p>
                  </a:txBody>
                  <a:tcPr marL="86975" marR="86975" marT="43488" marB="43488"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2200" dirty="0"/>
                    </a:p>
                  </a:txBody>
                  <a:tcPr marL="86975" marR="86975" marT="43488" marB="43488"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2200" dirty="0"/>
                    </a:p>
                  </a:txBody>
                  <a:tcPr marL="86975" marR="86975" marT="43488" marB="43488"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810646286"/>
                  </a:ext>
                </a:extLst>
              </a:tr>
              <a:tr h="415084">
                <a:tc>
                  <a:txBody>
                    <a:bodyPr/>
                    <a:lstStyle/>
                    <a:p>
                      <a:pPr marL="0" marR="0" lvl="0" indent="0" algn="l" defTabSz="112544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 smtClean="0"/>
                        <a:t>Пользователь 2</a:t>
                      </a:r>
                    </a:p>
                  </a:txBody>
                  <a:tcPr marL="86975" marR="86975" marT="43488" marB="43488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200" dirty="0" smtClean="0"/>
                        <a:t>+</a:t>
                      </a:r>
                      <a:endParaRPr lang="ru-RU" sz="2200" dirty="0"/>
                    </a:p>
                  </a:txBody>
                  <a:tcPr marL="86975" marR="86975" marT="43488" marB="43488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200" dirty="0" smtClean="0"/>
                        <a:t>+</a:t>
                      </a:r>
                      <a:endParaRPr lang="ru-RU" sz="2200" dirty="0"/>
                    </a:p>
                  </a:txBody>
                  <a:tcPr marL="86975" marR="86975" marT="43488" marB="43488" anchor="ctr"/>
                </a:tc>
                <a:tc>
                  <a:txBody>
                    <a:bodyPr/>
                    <a:lstStyle/>
                    <a:p>
                      <a:pPr algn="ctr"/>
                      <a:endParaRPr lang="ru-RU" sz="2200" dirty="0"/>
                    </a:p>
                  </a:txBody>
                  <a:tcPr marL="86975" marR="86975" marT="43488" marB="43488" anchor="ctr"/>
                </a:tc>
                <a:tc>
                  <a:txBody>
                    <a:bodyPr/>
                    <a:lstStyle/>
                    <a:p>
                      <a:pPr algn="ctr"/>
                      <a:endParaRPr lang="ru-RU" sz="2200" dirty="0"/>
                    </a:p>
                  </a:txBody>
                  <a:tcPr marL="86975" marR="86975" marT="43488" marB="43488" anchor="ctr"/>
                </a:tc>
                <a:tc>
                  <a:txBody>
                    <a:bodyPr/>
                    <a:lstStyle/>
                    <a:p>
                      <a:pPr algn="ctr"/>
                      <a:endParaRPr lang="ru-RU" sz="2200" dirty="0"/>
                    </a:p>
                  </a:txBody>
                  <a:tcPr marL="86975" marR="86975" marT="43488" marB="43488" anchor="ctr"/>
                </a:tc>
                <a:tc>
                  <a:txBody>
                    <a:bodyPr/>
                    <a:lstStyle/>
                    <a:p>
                      <a:pPr algn="ctr"/>
                      <a:endParaRPr lang="ru-RU" sz="2200" dirty="0"/>
                    </a:p>
                  </a:txBody>
                  <a:tcPr marL="86975" marR="86975" marT="43488" marB="43488" anchor="ctr"/>
                </a:tc>
                <a:tc>
                  <a:txBody>
                    <a:bodyPr/>
                    <a:lstStyle/>
                    <a:p>
                      <a:pPr algn="ctr"/>
                      <a:endParaRPr lang="ru-RU" sz="2200" dirty="0"/>
                    </a:p>
                  </a:txBody>
                  <a:tcPr marL="86975" marR="86975" marT="43488" marB="43488" anchor="ctr"/>
                </a:tc>
                <a:tc>
                  <a:txBody>
                    <a:bodyPr/>
                    <a:lstStyle/>
                    <a:p>
                      <a:pPr algn="ctr"/>
                      <a:endParaRPr lang="ru-RU" sz="2200" dirty="0"/>
                    </a:p>
                  </a:txBody>
                  <a:tcPr marL="86975" marR="86975" marT="43488" marB="43488" anchor="ctr"/>
                </a:tc>
                <a:tc>
                  <a:txBody>
                    <a:bodyPr/>
                    <a:lstStyle/>
                    <a:p>
                      <a:pPr algn="ctr"/>
                      <a:endParaRPr lang="ru-RU" sz="2200" dirty="0"/>
                    </a:p>
                  </a:txBody>
                  <a:tcPr marL="86975" marR="86975" marT="43488" marB="43488" anchor="ctr"/>
                </a:tc>
                <a:tc>
                  <a:txBody>
                    <a:bodyPr/>
                    <a:lstStyle/>
                    <a:p>
                      <a:pPr algn="ctr"/>
                      <a:endParaRPr lang="ru-RU" sz="2200" dirty="0"/>
                    </a:p>
                  </a:txBody>
                  <a:tcPr marL="86975" marR="86975" marT="43488" marB="43488" anchor="ctr"/>
                </a:tc>
                <a:extLst>
                  <a:ext uri="{0D108BD9-81ED-4DB2-BD59-A6C34878D82A}">
                    <a16:rowId xmlns:a16="http://schemas.microsoft.com/office/drawing/2014/main" xmlns="" val="3593578045"/>
                  </a:ext>
                </a:extLst>
              </a:tr>
              <a:tr h="415084">
                <a:tc>
                  <a:txBody>
                    <a:bodyPr/>
                    <a:lstStyle/>
                    <a:p>
                      <a:pPr marL="0" marR="0" lvl="0" indent="0" algn="l" defTabSz="112544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 smtClean="0"/>
                        <a:t>Пользователь 3</a:t>
                      </a:r>
                    </a:p>
                  </a:txBody>
                  <a:tcPr marL="86975" marR="86975" marT="43488" marB="43488"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2200" dirty="0"/>
                    </a:p>
                  </a:txBody>
                  <a:tcPr marL="86975" marR="86975" marT="43488" marB="43488"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2200" dirty="0"/>
                    </a:p>
                  </a:txBody>
                  <a:tcPr marL="86975" marR="86975" marT="43488" marB="43488"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200" dirty="0" smtClean="0"/>
                        <a:t>+</a:t>
                      </a:r>
                      <a:endParaRPr lang="ru-RU" sz="2200" dirty="0"/>
                    </a:p>
                  </a:txBody>
                  <a:tcPr marL="86975" marR="86975" marT="43488" marB="43488"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2200" dirty="0"/>
                    </a:p>
                  </a:txBody>
                  <a:tcPr marL="86975" marR="86975" marT="43488" marB="43488"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2200" dirty="0"/>
                    </a:p>
                  </a:txBody>
                  <a:tcPr marL="86975" marR="86975" marT="43488" marB="43488"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2200" dirty="0"/>
                    </a:p>
                  </a:txBody>
                  <a:tcPr marL="86975" marR="86975" marT="43488" marB="43488"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2200" dirty="0"/>
                    </a:p>
                  </a:txBody>
                  <a:tcPr marL="86975" marR="86975" marT="43488" marB="43488"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2200" dirty="0"/>
                    </a:p>
                  </a:txBody>
                  <a:tcPr marL="86975" marR="86975" marT="43488" marB="43488"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2200" dirty="0"/>
                    </a:p>
                  </a:txBody>
                  <a:tcPr marL="86975" marR="86975" marT="43488" marB="43488"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2200" dirty="0"/>
                    </a:p>
                  </a:txBody>
                  <a:tcPr marL="86975" marR="86975" marT="43488" marB="43488"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4155055925"/>
                  </a:ext>
                </a:extLst>
              </a:tr>
              <a:tr h="415084">
                <a:tc>
                  <a:txBody>
                    <a:bodyPr/>
                    <a:lstStyle/>
                    <a:p>
                      <a:pPr marL="0" marR="0" lvl="0" indent="0" algn="l" defTabSz="112544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 smtClean="0"/>
                        <a:t>Пользователь 4</a:t>
                      </a:r>
                    </a:p>
                  </a:txBody>
                  <a:tcPr marL="86975" marR="86975" marT="43488" marB="43488" anchor="ctr"/>
                </a:tc>
                <a:tc>
                  <a:txBody>
                    <a:bodyPr/>
                    <a:lstStyle/>
                    <a:p>
                      <a:pPr algn="ctr"/>
                      <a:endParaRPr lang="ru-RU" sz="2200" dirty="0"/>
                    </a:p>
                  </a:txBody>
                  <a:tcPr marL="86975" marR="86975" marT="43488" marB="43488" anchor="ctr"/>
                </a:tc>
                <a:tc>
                  <a:txBody>
                    <a:bodyPr/>
                    <a:lstStyle/>
                    <a:p>
                      <a:pPr algn="ctr"/>
                      <a:endParaRPr lang="ru-RU" sz="2200" dirty="0"/>
                    </a:p>
                  </a:txBody>
                  <a:tcPr marL="86975" marR="86975" marT="43488" marB="43488" anchor="ctr"/>
                </a:tc>
                <a:tc>
                  <a:txBody>
                    <a:bodyPr/>
                    <a:lstStyle/>
                    <a:p>
                      <a:pPr algn="ctr"/>
                      <a:endParaRPr lang="ru-RU" sz="2200"/>
                    </a:p>
                  </a:txBody>
                  <a:tcPr marL="86975" marR="86975" marT="43488" marB="43488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200" dirty="0" smtClean="0"/>
                        <a:t>+</a:t>
                      </a:r>
                      <a:endParaRPr lang="ru-RU" sz="2200" dirty="0"/>
                    </a:p>
                  </a:txBody>
                  <a:tcPr marL="86975" marR="86975" marT="43488" marB="43488" anchor="ctr"/>
                </a:tc>
                <a:tc>
                  <a:txBody>
                    <a:bodyPr/>
                    <a:lstStyle/>
                    <a:p>
                      <a:pPr algn="ctr"/>
                      <a:endParaRPr lang="ru-RU" sz="2200"/>
                    </a:p>
                  </a:txBody>
                  <a:tcPr marL="86975" marR="86975" marT="43488" marB="43488" anchor="ctr"/>
                </a:tc>
                <a:tc>
                  <a:txBody>
                    <a:bodyPr/>
                    <a:lstStyle/>
                    <a:p>
                      <a:pPr algn="ctr"/>
                      <a:endParaRPr lang="ru-RU" sz="2200" dirty="0"/>
                    </a:p>
                  </a:txBody>
                  <a:tcPr marL="86975" marR="86975" marT="43488" marB="43488" anchor="ctr"/>
                </a:tc>
                <a:tc>
                  <a:txBody>
                    <a:bodyPr/>
                    <a:lstStyle/>
                    <a:p>
                      <a:pPr algn="ctr"/>
                      <a:endParaRPr lang="ru-RU" sz="2200" dirty="0"/>
                    </a:p>
                  </a:txBody>
                  <a:tcPr marL="86975" marR="86975" marT="43488" marB="43488" anchor="ctr"/>
                </a:tc>
                <a:tc>
                  <a:txBody>
                    <a:bodyPr/>
                    <a:lstStyle/>
                    <a:p>
                      <a:pPr algn="ctr"/>
                      <a:endParaRPr lang="ru-RU" sz="2200" dirty="0"/>
                    </a:p>
                  </a:txBody>
                  <a:tcPr marL="86975" marR="86975" marT="43488" marB="43488" anchor="ctr"/>
                </a:tc>
                <a:tc>
                  <a:txBody>
                    <a:bodyPr/>
                    <a:lstStyle/>
                    <a:p>
                      <a:pPr algn="ctr"/>
                      <a:endParaRPr lang="ru-RU" sz="2200" dirty="0"/>
                    </a:p>
                  </a:txBody>
                  <a:tcPr marL="86975" marR="86975" marT="43488" marB="43488" anchor="ctr"/>
                </a:tc>
                <a:tc>
                  <a:txBody>
                    <a:bodyPr/>
                    <a:lstStyle/>
                    <a:p>
                      <a:pPr algn="ctr"/>
                      <a:endParaRPr lang="ru-RU" sz="2200" dirty="0"/>
                    </a:p>
                  </a:txBody>
                  <a:tcPr marL="86975" marR="86975" marT="43488" marB="43488" anchor="ctr"/>
                </a:tc>
                <a:extLst>
                  <a:ext uri="{0D108BD9-81ED-4DB2-BD59-A6C34878D82A}">
                    <a16:rowId xmlns:a16="http://schemas.microsoft.com/office/drawing/2014/main" xmlns="" val="2715975476"/>
                  </a:ext>
                </a:extLst>
              </a:tr>
              <a:tr h="415084">
                <a:tc>
                  <a:txBody>
                    <a:bodyPr/>
                    <a:lstStyle/>
                    <a:p>
                      <a:pPr marL="0" marR="0" lvl="0" indent="0" algn="l" defTabSz="112544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 smtClean="0"/>
                        <a:t>Пользователь 5</a:t>
                      </a:r>
                    </a:p>
                  </a:txBody>
                  <a:tcPr marL="86975" marR="86975" marT="43488" marB="43488"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2200" dirty="0"/>
                    </a:p>
                  </a:txBody>
                  <a:tcPr marL="86975" marR="86975" marT="43488" marB="43488"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2200" dirty="0"/>
                    </a:p>
                  </a:txBody>
                  <a:tcPr marL="86975" marR="86975" marT="43488" marB="43488"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2200" dirty="0"/>
                    </a:p>
                  </a:txBody>
                  <a:tcPr marL="86975" marR="86975" marT="43488" marB="43488"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2200" dirty="0"/>
                    </a:p>
                  </a:txBody>
                  <a:tcPr marL="86975" marR="86975" marT="43488" marB="43488"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2200" dirty="0"/>
                    </a:p>
                  </a:txBody>
                  <a:tcPr marL="86975" marR="86975" marT="43488" marB="43488"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200" dirty="0" smtClean="0"/>
                        <a:t>+</a:t>
                      </a:r>
                      <a:endParaRPr lang="ru-RU" sz="2200" dirty="0"/>
                    </a:p>
                  </a:txBody>
                  <a:tcPr marL="86975" marR="86975" marT="43488" marB="43488"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2200" dirty="0"/>
                    </a:p>
                  </a:txBody>
                  <a:tcPr marL="86975" marR="86975" marT="43488" marB="43488"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2200" dirty="0"/>
                    </a:p>
                  </a:txBody>
                  <a:tcPr marL="86975" marR="86975" marT="43488" marB="43488"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2200" dirty="0"/>
                    </a:p>
                  </a:txBody>
                  <a:tcPr marL="86975" marR="86975" marT="43488" marB="43488"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2200" dirty="0"/>
                    </a:p>
                  </a:txBody>
                  <a:tcPr marL="86975" marR="86975" marT="43488" marB="43488"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4015139030"/>
                  </a:ext>
                </a:extLst>
              </a:tr>
              <a:tr h="415084">
                <a:tc>
                  <a:txBody>
                    <a:bodyPr/>
                    <a:lstStyle/>
                    <a:p>
                      <a:pPr marL="0" marR="0" lvl="0" indent="0" algn="l" defTabSz="112544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 smtClean="0"/>
                        <a:t>Пользователь 6</a:t>
                      </a:r>
                    </a:p>
                  </a:txBody>
                  <a:tcPr marL="86975" marR="86975" marT="43488" marB="43488" anchor="ctr"/>
                </a:tc>
                <a:tc>
                  <a:txBody>
                    <a:bodyPr/>
                    <a:lstStyle/>
                    <a:p>
                      <a:pPr algn="ctr"/>
                      <a:endParaRPr lang="ru-RU" sz="2200" dirty="0"/>
                    </a:p>
                  </a:txBody>
                  <a:tcPr marL="86975" marR="86975" marT="43488" marB="43488" anchor="ctr"/>
                </a:tc>
                <a:tc>
                  <a:txBody>
                    <a:bodyPr/>
                    <a:lstStyle/>
                    <a:p>
                      <a:pPr algn="ctr"/>
                      <a:endParaRPr lang="ru-RU" sz="2200" dirty="0"/>
                    </a:p>
                  </a:txBody>
                  <a:tcPr marL="86975" marR="86975" marT="43488" marB="43488" anchor="ctr"/>
                </a:tc>
                <a:tc>
                  <a:txBody>
                    <a:bodyPr/>
                    <a:lstStyle/>
                    <a:p>
                      <a:pPr algn="ctr"/>
                      <a:endParaRPr lang="ru-RU" sz="2200" dirty="0"/>
                    </a:p>
                  </a:txBody>
                  <a:tcPr marL="86975" marR="86975" marT="43488" marB="43488" anchor="ctr"/>
                </a:tc>
                <a:tc>
                  <a:txBody>
                    <a:bodyPr/>
                    <a:lstStyle/>
                    <a:p>
                      <a:pPr algn="ctr"/>
                      <a:endParaRPr lang="ru-RU" sz="2200" dirty="0"/>
                    </a:p>
                  </a:txBody>
                  <a:tcPr marL="86975" marR="86975" marT="43488" marB="43488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200" dirty="0" smtClean="0"/>
                        <a:t>+</a:t>
                      </a:r>
                      <a:endParaRPr lang="ru-RU" sz="2200" dirty="0"/>
                    </a:p>
                  </a:txBody>
                  <a:tcPr marL="86975" marR="86975" marT="43488" marB="43488" anchor="ctr"/>
                </a:tc>
                <a:tc>
                  <a:txBody>
                    <a:bodyPr/>
                    <a:lstStyle/>
                    <a:p>
                      <a:pPr algn="ctr"/>
                      <a:endParaRPr lang="ru-RU" sz="2200" dirty="0"/>
                    </a:p>
                  </a:txBody>
                  <a:tcPr marL="86975" marR="86975" marT="43488" marB="43488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200" dirty="0" smtClean="0"/>
                        <a:t>+</a:t>
                      </a:r>
                      <a:endParaRPr lang="ru-RU" sz="2200" dirty="0"/>
                    </a:p>
                  </a:txBody>
                  <a:tcPr marL="86975" marR="86975" marT="43488" marB="43488" anchor="ctr"/>
                </a:tc>
                <a:tc>
                  <a:txBody>
                    <a:bodyPr/>
                    <a:lstStyle/>
                    <a:p>
                      <a:pPr algn="ctr"/>
                      <a:endParaRPr lang="ru-RU" sz="2200" dirty="0"/>
                    </a:p>
                  </a:txBody>
                  <a:tcPr marL="86975" marR="86975" marT="43488" marB="43488" anchor="ctr"/>
                </a:tc>
                <a:tc>
                  <a:txBody>
                    <a:bodyPr/>
                    <a:lstStyle/>
                    <a:p>
                      <a:pPr algn="ctr"/>
                      <a:endParaRPr lang="ru-RU" sz="2200" dirty="0"/>
                    </a:p>
                  </a:txBody>
                  <a:tcPr marL="86975" marR="86975" marT="43488" marB="43488" anchor="ctr"/>
                </a:tc>
                <a:tc>
                  <a:txBody>
                    <a:bodyPr/>
                    <a:lstStyle/>
                    <a:p>
                      <a:pPr algn="ctr"/>
                      <a:endParaRPr lang="ru-RU" sz="2200" dirty="0"/>
                    </a:p>
                  </a:txBody>
                  <a:tcPr marL="86975" marR="86975" marT="43488" marB="43488" anchor="ctr"/>
                </a:tc>
                <a:extLst>
                  <a:ext uri="{0D108BD9-81ED-4DB2-BD59-A6C34878D82A}">
                    <a16:rowId xmlns:a16="http://schemas.microsoft.com/office/drawing/2014/main" xmlns="" val="1986046400"/>
                  </a:ext>
                </a:extLst>
              </a:tr>
              <a:tr h="415084">
                <a:tc>
                  <a:txBody>
                    <a:bodyPr/>
                    <a:lstStyle/>
                    <a:p>
                      <a:pPr marL="0" marR="0" lvl="0" indent="0" algn="l" defTabSz="112544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 smtClean="0"/>
                        <a:t>Пользователь 7</a:t>
                      </a:r>
                    </a:p>
                  </a:txBody>
                  <a:tcPr marL="86975" marR="86975" marT="43488" marB="43488"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2200" dirty="0"/>
                    </a:p>
                  </a:txBody>
                  <a:tcPr marL="86975" marR="86975" marT="43488" marB="43488"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2200" dirty="0"/>
                    </a:p>
                  </a:txBody>
                  <a:tcPr marL="86975" marR="86975" marT="43488" marB="43488"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2200" dirty="0"/>
                    </a:p>
                  </a:txBody>
                  <a:tcPr marL="86975" marR="86975" marT="43488" marB="43488"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2200" dirty="0"/>
                    </a:p>
                  </a:txBody>
                  <a:tcPr marL="86975" marR="86975" marT="43488" marB="43488"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2200" dirty="0"/>
                    </a:p>
                  </a:txBody>
                  <a:tcPr marL="86975" marR="86975" marT="43488" marB="43488"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2200" dirty="0"/>
                    </a:p>
                  </a:txBody>
                  <a:tcPr marL="86975" marR="86975" marT="43488" marB="43488"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2200" dirty="0"/>
                    </a:p>
                  </a:txBody>
                  <a:tcPr marL="86975" marR="86975" marT="43488" marB="43488"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200" dirty="0" smtClean="0"/>
                        <a:t>+</a:t>
                      </a:r>
                      <a:endParaRPr lang="ru-RU" sz="2200" dirty="0"/>
                    </a:p>
                  </a:txBody>
                  <a:tcPr marL="86975" marR="86975" marT="43488" marB="43488"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2200" dirty="0"/>
                    </a:p>
                  </a:txBody>
                  <a:tcPr marL="86975" marR="86975" marT="43488" marB="43488"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2200" dirty="0"/>
                    </a:p>
                  </a:txBody>
                  <a:tcPr marL="86975" marR="86975" marT="43488" marB="43488"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582117839"/>
                  </a:ext>
                </a:extLst>
              </a:tr>
              <a:tr h="415084">
                <a:tc>
                  <a:txBody>
                    <a:bodyPr/>
                    <a:lstStyle/>
                    <a:p>
                      <a:pPr marL="0" marR="0" lvl="0" indent="0" algn="l" defTabSz="112544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 smtClean="0"/>
                        <a:t>Пользователь 8</a:t>
                      </a:r>
                    </a:p>
                  </a:txBody>
                  <a:tcPr marL="86975" marR="86975" marT="43488" marB="43488" anchor="ctr"/>
                </a:tc>
                <a:tc>
                  <a:txBody>
                    <a:bodyPr/>
                    <a:lstStyle/>
                    <a:p>
                      <a:pPr algn="ctr"/>
                      <a:endParaRPr lang="ru-RU" sz="2200" dirty="0"/>
                    </a:p>
                  </a:txBody>
                  <a:tcPr marL="86975" marR="86975" marT="43488" marB="43488" anchor="ctr"/>
                </a:tc>
                <a:tc>
                  <a:txBody>
                    <a:bodyPr/>
                    <a:lstStyle/>
                    <a:p>
                      <a:pPr algn="ctr"/>
                      <a:endParaRPr lang="ru-RU" sz="2200" dirty="0"/>
                    </a:p>
                  </a:txBody>
                  <a:tcPr marL="86975" marR="86975" marT="43488" marB="43488" anchor="ctr"/>
                </a:tc>
                <a:tc>
                  <a:txBody>
                    <a:bodyPr/>
                    <a:lstStyle/>
                    <a:p>
                      <a:pPr algn="ctr"/>
                      <a:endParaRPr lang="ru-RU" sz="2200" dirty="0"/>
                    </a:p>
                  </a:txBody>
                  <a:tcPr marL="86975" marR="86975" marT="43488" marB="43488" anchor="ctr"/>
                </a:tc>
                <a:tc>
                  <a:txBody>
                    <a:bodyPr/>
                    <a:lstStyle/>
                    <a:p>
                      <a:pPr algn="ctr"/>
                      <a:endParaRPr lang="ru-RU" sz="2200" dirty="0"/>
                    </a:p>
                  </a:txBody>
                  <a:tcPr marL="86975" marR="86975" marT="43488" marB="43488" anchor="ctr"/>
                </a:tc>
                <a:tc>
                  <a:txBody>
                    <a:bodyPr/>
                    <a:lstStyle/>
                    <a:p>
                      <a:pPr algn="ctr"/>
                      <a:endParaRPr lang="ru-RU" sz="2200" dirty="0"/>
                    </a:p>
                  </a:txBody>
                  <a:tcPr marL="86975" marR="86975" marT="43488" marB="43488" anchor="ctr"/>
                </a:tc>
                <a:tc>
                  <a:txBody>
                    <a:bodyPr/>
                    <a:lstStyle/>
                    <a:p>
                      <a:pPr algn="ctr"/>
                      <a:endParaRPr lang="ru-RU" sz="2200" dirty="0"/>
                    </a:p>
                  </a:txBody>
                  <a:tcPr marL="86975" marR="86975" marT="43488" marB="43488" anchor="ctr"/>
                </a:tc>
                <a:tc>
                  <a:txBody>
                    <a:bodyPr/>
                    <a:lstStyle/>
                    <a:p>
                      <a:pPr algn="ctr"/>
                      <a:endParaRPr lang="ru-RU" sz="2200" dirty="0"/>
                    </a:p>
                  </a:txBody>
                  <a:tcPr marL="86975" marR="86975" marT="43488" marB="43488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200" dirty="0" smtClean="0"/>
                        <a:t>+</a:t>
                      </a:r>
                      <a:endParaRPr lang="ru-RU" sz="2200" dirty="0"/>
                    </a:p>
                  </a:txBody>
                  <a:tcPr marL="86975" marR="86975" marT="43488" marB="43488" anchor="ctr"/>
                </a:tc>
                <a:tc>
                  <a:txBody>
                    <a:bodyPr/>
                    <a:lstStyle/>
                    <a:p>
                      <a:pPr algn="ctr"/>
                      <a:endParaRPr lang="ru-RU" sz="2200" dirty="0"/>
                    </a:p>
                  </a:txBody>
                  <a:tcPr marL="86975" marR="86975" marT="43488" marB="43488" anchor="ctr"/>
                </a:tc>
                <a:tc>
                  <a:txBody>
                    <a:bodyPr/>
                    <a:lstStyle/>
                    <a:p>
                      <a:pPr algn="ctr"/>
                      <a:endParaRPr lang="ru-RU" sz="2200" dirty="0"/>
                    </a:p>
                  </a:txBody>
                  <a:tcPr marL="86975" marR="86975" marT="43488" marB="43488" anchor="ctr"/>
                </a:tc>
                <a:extLst>
                  <a:ext uri="{0D108BD9-81ED-4DB2-BD59-A6C34878D82A}">
                    <a16:rowId xmlns:a16="http://schemas.microsoft.com/office/drawing/2014/main" xmlns="" val="991227107"/>
                  </a:ext>
                </a:extLst>
              </a:tr>
              <a:tr h="415084">
                <a:tc>
                  <a:txBody>
                    <a:bodyPr/>
                    <a:lstStyle/>
                    <a:p>
                      <a:pPr marL="0" marR="0" lvl="0" indent="0" algn="l" defTabSz="112544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 smtClean="0"/>
                        <a:t>Пользователь 9</a:t>
                      </a:r>
                    </a:p>
                  </a:txBody>
                  <a:tcPr marL="86975" marR="86975" marT="43488" marB="43488"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2200" dirty="0"/>
                    </a:p>
                  </a:txBody>
                  <a:tcPr marL="86975" marR="86975" marT="43488" marB="43488"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2200" dirty="0"/>
                    </a:p>
                  </a:txBody>
                  <a:tcPr marL="86975" marR="86975" marT="43488" marB="43488"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2200" dirty="0"/>
                    </a:p>
                  </a:txBody>
                  <a:tcPr marL="86975" marR="86975" marT="43488" marB="43488"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2200" dirty="0"/>
                    </a:p>
                  </a:txBody>
                  <a:tcPr marL="86975" marR="86975" marT="43488" marB="43488"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2200" dirty="0"/>
                    </a:p>
                  </a:txBody>
                  <a:tcPr marL="86975" marR="86975" marT="43488" marB="43488"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2200" dirty="0"/>
                    </a:p>
                  </a:txBody>
                  <a:tcPr marL="86975" marR="86975" marT="43488" marB="43488"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2200" dirty="0"/>
                    </a:p>
                  </a:txBody>
                  <a:tcPr marL="86975" marR="86975" marT="43488" marB="43488"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2200" dirty="0"/>
                    </a:p>
                  </a:txBody>
                  <a:tcPr marL="86975" marR="86975" marT="43488" marB="43488"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200" dirty="0" smtClean="0"/>
                        <a:t>+</a:t>
                      </a:r>
                      <a:endParaRPr lang="ru-RU" sz="2200" dirty="0"/>
                    </a:p>
                  </a:txBody>
                  <a:tcPr marL="86975" marR="86975" marT="43488" marB="43488"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2200" dirty="0"/>
                    </a:p>
                  </a:txBody>
                  <a:tcPr marL="86975" marR="86975" marT="43488" marB="43488"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4227939299"/>
                  </a:ext>
                </a:extLst>
              </a:tr>
              <a:tr h="415084">
                <a:tc>
                  <a:txBody>
                    <a:bodyPr/>
                    <a:lstStyle/>
                    <a:p>
                      <a:pPr marL="0" marR="0" lvl="0" indent="0" algn="l" defTabSz="112544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 smtClean="0"/>
                        <a:t>Пользователь</a:t>
                      </a:r>
                    </a:p>
                  </a:txBody>
                  <a:tcPr marL="86975" marR="86975" marT="43488" marB="43488" anchor="ctr"/>
                </a:tc>
                <a:tc>
                  <a:txBody>
                    <a:bodyPr/>
                    <a:lstStyle/>
                    <a:p>
                      <a:pPr algn="ctr"/>
                      <a:endParaRPr lang="ru-RU" sz="2200" dirty="0"/>
                    </a:p>
                  </a:txBody>
                  <a:tcPr marL="86975" marR="86975" marT="43488" marB="43488" anchor="ctr"/>
                </a:tc>
                <a:tc>
                  <a:txBody>
                    <a:bodyPr/>
                    <a:lstStyle/>
                    <a:p>
                      <a:pPr algn="ctr"/>
                      <a:endParaRPr lang="ru-RU" sz="2200" dirty="0"/>
                    </a:p>
                  </a:txBody>
                  <a:tcPr marL="86975" marR="86975" marT="43488" marB="43488" anchor="ctr"/>
                </a:tc>
                <a:tc>
                  <a:txBody>
                    <a:bodyPr/>
                    <a:lstStyle/>
                    <a:p>
                      <a:pPr algn="ctr"/>
                      <a:endParaRPr lang="ru-RU" sz="2200" dirty="0"/>
                    </a:p>
                  </a:txBody>
                  <a:tcPr marL="86975" marR="86975" marT="43488" marB="43488" anchor="ctr"/>
                </a:tc>
                <a:tc>
                  <a:txBody>
                    <a:bodyPr/>
                    <a:lstStyle/>
                    <a:p>
                      <a:pPr algn="ctr"/>
                      <a:endParaRPr lang="ru-RU" sz="2200" dirty="0"/>
                    </a:p>
                  </a:txBody>
                  <a:tcPr marL="86975" marR="86975" marT="43488" marB="43488" anchor="ctr"/>
                </a:tc>
                <a:tc>
                  <a:txBody>
                    <a:bodyPr/>
                    <a:lstStyle/>
                    <a:p>
                      <a:pPr algn="ctr"/>
                      <a:endParaRPr lang="ru-RU" sz="2200" dirty="0"/>
                    </a:p>
                  </a:txBody>
                  <a:tcPr marL="86975" marR="86975" marT="43488" marB="43488" anchor="ctr"/>
                </a:tc>
                <a:tc>
                  <a:txBody>
                    <a:bodyPr/>
                    <a:lstStyle/>
                    <a:p>
                      <a:pPr algn="ctr"/>
                      <a:endParaRPr lang="ru-RU" sz="2200" dirty="0"/>
                    </a:p>
                  </a:txBody>
                  <a:tcPr marL="86975" marR="86975" marT="43488" marB="43488" anchor="ctr"/>
                </a:tc>
                <a:tc>
                  <a:txBody>
                    <a:bodyPr/>
                    <a:lstStyle/>
                    <a:p>
                      <a:pPr algn="ctr"/>
                      <a:endParaRPr lang="ru-RU" sz="2200" dirty="0"/>
                    </a:p>
                  </a:txBody>
                  <a:tcPr marL="86975" marR="86975" marT="43488" marB="43488" anchor="ctr"/>
                </a:tc>
                <a:tc>
                  <a:txBody>
                    <a:bodyPr/>
                    <a:lstStyle/>
                    <a:p>
                      <a:pPr algn="ctr"/>
                      <a:endParaRPr lang="ru-RU" sz="2200" dirty="0"/>
                    </a:p>
                  </a:txBody>
                  <a:tcPr marL="86975" marR="86975" marT="43488" marB="43488" anchor="ctr"/>
                </a:tc>
                <a:tc>
                  <a:txBody>
                    <a:bodyPr/>
                    <a:lstStyle/>
                    <a:p>
                      <a:pPr algn="ctr"/>
                      <a:endParaRPr lang="ru-RU" sz="2200" dirty="0"/>
                    </a:p>
                  </a:txBody>
                  <a:tcPr marL="86975" marR="86975" marT="43488" marB="43488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200" dirty="0" smtClean="0"/>
                        <a:t>+</a:t>
                      </a:r>
                      <a:endParaRPr lang="ru-RU" sz="2200" dirty="0"/>
                    </a:p>
                  </a:txBody>
                  <a:tcPr marL="86975" marR="86975" marT="43488" marB="43488" anchor="ctr"/>
                </a:tc>
                <a:extLst>
                  <a:ext uri="{0D108BD9-81ED-4DB2-BD59-A6C34878D82A}">
                    <a16:rowId xmlns:a16="http://schemas.microsoft.com/office/drawing/2014/main" xmlns="" val="369886224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2179555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59" name="Слайд think-cell" r:id="rId6" imgW="347" imgH="346" progId="TCLayout.ActiveDocument.1">
                  <p:embed/>
                </p:oleObj>
              </mc:Choice>
              <mc:Fallback>
                <p:oleObj name="Слайд think-cell" r:id="rId6" imgW="347" imgH="346" progId="TCLayout.ActiveDocument.1">
                  <p:embed/>
                  <p:pic>
                    <p:nvPicPr>
                      <p:cNvPr id="2" name="Объект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Прямоугольник 6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ru-RU" sz="2462" b="1" dirty="0">
              <a:latin typeface="Calibri" panose="020F0502020204030204" pitchFamily="34" charset="0"/>
              <a:ea typeface="+mj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3600" dirty="0" smtClean="0"/>
              <a:t>Что </a:t>
            </a:r>
            <a:r>
              <a:rPr lang="ru-RU" sz="3600" dirty="0"/>
              <a:t>нравится в 1С </a:t>
            </a:r>
            <a:r>
              <a:rPr lang="ru-RU" sz="3600" dirty="0" smtClean="0"/>
              <a:t>УХ</a:t>
            </a:r>
            <a:endParaRPr lang="ru-RU" sz="3600" dirty="0"/>
          </a:p>
        </p:txBody>
      </p:sp>
      <p:sp>
        <p:nvSpPr>
          <p:cNvPr id="8" name="Rectangle 20">
            <a:extLst>
              <a:ext uri="{FF2B5EF4-FFF2-40B4-BE49-F238E27FC236}">
                <a16:creationId xmlns:a16="http://schemas.microsoft.com/office/drawing/2014/main" xmlns="" id="{35243DD3-35C7-4641-81AE-B18CF3869EEF}"/>
              </a:ext>
            </a:extLst>
          </p:cNvPr>
          <p:cNvSpPr/>
          <p:nvPr/>
        </p:nvSpPr>
        <p:spPr>
          <a:xfrm>
            <a:off x="2438400" y="1218566"/>
            <a:ext cx="9268473" cy="5283834"/>
          </a:xfrm>
          <a:prstGeom prst="rect">
            <a:avLst/>
          </a:prstGeom>
          <a:solidFill>
            <a:srgbClr val="FFFFFF"/>
          </a:solidFill>
          <a:ln w="25400" cap="flat" cmpd="sng" algn="ctr">
            <a:solidFill>
              <a:schemeClr val="bg1">
                <a:lumMod val="95000"/>
              </a:schemeClr>
            </a:solidFill>
            <a:prstDash val="solid"/>
            <a:miter lim="800000"/>
          </a:ln>
          <a:effectLst>
            <a:outerShdw blurRad="393700" dist="50800" dir="5400000" algn="ctr" rotWithShape="0">
              <a:srgbClr val="000000">
                <a:alpha val="25000"/>
              </a:srgbClr>
            </a:outerShdw>
          </a:effectLst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sp>
        <p:nvSpPr>
          <p:cNvPr id="334" name="TextBox 333"/>
          <p:cNvSpPr txBox="1"/>
          <p:nvPr/>
        </p:nvSpPr>
        <p:spPr>
          <a:xfrm>
            <a:off x="2912261" y="1321326"/>
            <a:ext cx="8794612" cy="50783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ru-RU" sz="36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Гибкость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endParaRPr lang="ru-RU" sz="3600" b="1" dirty="0" smtClean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ru-RU" sz="36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Актуальные обновления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endParaRPr lang="ru-RU" sz="3600" b="1" dirty="0" smtClean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ru-RU" sz="36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Легко интегрируется </a:t>
            </a:r>
            <a:r>
              <a:rPr lang="ru-RU" sz="36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/>
            </a:r>
            <a:br>
              <a:rPr lang="ru-RU" sz="3600" b="1" dirty="0" smtClean="0"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ru-RU" sz="36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с </a:t>
            </a:r>
            <a:r>
              <a:rPr lang="ru-RU" sz="36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другими Системами Холдинга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endParaRPr lang="ru-RU" sz="3600" b="1" dirty="0" smtClean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ru-RU" sz="36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Возможность автоматизировать </a:t>
            </a:r>
            <a:r>
              <a:rPr lang="ru-RU" sz="36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/>
            </a:r>
            <a:br>
              <a:rPr lang="ru-RU" sz="3600" b="1" dirty="0" smtClean="0"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ru-RU" sz="36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и </a:t>
            </a:r>
            <a:r>
              <a:rPr lang="ru-RU" sz="36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увязать смежные процессы</a:t>
            </a:r>
          </a:p>
        </p:txBody>
      </p:sp>
      <p:pic>
        <p:nvPicPr>
          <p:cNvPr id="336" name="Picture 4" descr="https://st2.depositphotos.com/3746989/7425/i/950/depositphotos_74255117-stock-photo-people-in-the-shape-of.jpg"/>
          <p:cNvPicPr>
            <a:picLocks noChangeAspect="1" noChangeArrowheads="1"/>
          </p:cNvPicPr>
          <p:nvPr/>
        </p:nvPicPr>
        <p:blipFill rotWithShape="1">
          <a:blip r:embed="rId8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-2101310" y="1370966"/>
            <a:ext cx="4202620" cy="41662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8280023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89" name="Слайд think-cell" r:id="rId6" imgW="347" imgH="346" progId="TCLayout.ActiveDocument.1">
                  <p:embed/>
                </p:oleObj>
              </mc:Choice>
              <mc:Fallback>
                <p:oleObj name="Слайд think-cell" r:id="rId6" imgW="347" imgH="34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Прямоугольник 6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ru-RU" sz="2462" b="1" dirty="0">
              <a:latin typeface="Calibri" panose="020F0502020204030204" pitchFamily="34" charset="0"/>
              <a:ea typeface="+mj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3480009" y="164152"/>
            <a:ext cx="8240532" cy="527474"/>
          </a:xfrm>
        </p:spPr>
        <p:txBody>
          <a:bodyPr/>
          <a:lstStyle/>
          <a:p>
            <a:r>
              <a:rPr lang="ru-RU" sz="3600" dirty="0" smtClean="0"/>
              <a:t>Над </a:t>
            </a:r>
            <a:r>
              <a:rPr lang="ru-RU" sz="3600" dirty="0"/>
              <a:t>чем еще </a:t>
            </a:r>
            <a:r>
              <a:rPr lang="ru-RU" sz="3600" dirty="0" smtClean="0"/>
              <a:t>работать</a:t>
            </a:r>
            <a:endParaRPr lang="ru-RU" sz="3600" dirty="0"/>
          </a:p>
        </p:txBody>
      </p:sp>
      <p:sp>
        <p:nvSpPr>
          <p:cNvPr id="6" name="Rectangle 1">
            <a:extLst>
              <a:ext uri="{FF2B5EF4-FFF2-40B4-BE49-F238E27FC236}">
                <a16:creationId xmlns:a16="http://schemas.microsoft.com/office/drawing/2014/main" xmlns="" id="{8A6841E1-FB47-485B-B41B-34E9AA80CF1F}"/>
              </a:ext>
            </a:extLst>
          </p:cNvPr>
          <p:cNvSpPr/>
          <p:nvPr/>
        </p:nvSpPr>
        <p:spPr>
          <a:xfrm>
            <a:off x="2451100" y="1018827"/>
            <a:ext cx="9740899" cy="5839173"/>
          </a:xfrm>
          <a:prstGeom prst="rect">
            <a:avLst/>
          </a:prstGeom>
          <a:solidFill>
            <a:srgbClr val="313C41">
              <a:alpha val="92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D" sz="1800" b="0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2909455" y="1430034"/>
            <a:ext cx="9058206" cy="50167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42913" indent="-442913">
              <a:buFont typeface="Wingdings" panose="05000000000000000000" pitchFamily="2" charset="2"/>
              <a:buChar char="§"/>
            </a:pPr>
            <a:r>
              <a:rPr lang="ru-RU" sz="3200" dirty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Интеграция с платежной системой УФК (электронный бюджет)</a:t>
            </a:r>
          </a:p>
          <a:p>
            <a:pPr marL="442913" indent="-442913">
              <a:buFont typeface="Wingdings" panose="05000000000000000000" pitchFamily="2" charset="2"/>
              <a:buChar char="§"/>
            </a:pPr>
            <a:endParaRPr lang="ru-RU" sz="3200" dirty="0" smtClean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442913" indent="-442913">
              <a:buFont typeface="Wingdings" panose="05000000000000000000" pitchFamily="2" charset="2"/>
              <a:buChar char="§"/>
            </a:pPr>
            <a:r>
              <a:rPr lang="ru-RU" sz="3200" dirty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Оплата по трехсторонним договорам</a:t>
            </a:r>
          </a:p>
          <a:p>
            <a:pPr marL="442913" indent="-442913">
              <a:buFont typeface="Wingdings" panose="05000000000000000000" pitchFamily="2" charset="2"/>
              <a:buChar char="§"/>
            </a:pPr>
            <a:endParaRPr lang="ru-RU" sz="3200" dirty="0" smtClean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442913" indent="-442913">
              <a:buFont typeface="Wingdings" panose="05000000000000000000" pitchFamily="2" charset="2"/>
              <a:buChar char="§"/>
            </a:pPr>
            <a:r>
              <a:rPr lang="ru-RU" sz="3200" dirty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Автоматизация бюджетного контроля</a:t>
            </a:r>
          </a:p>
          <a:p>
            <a:pPr marL="442913" indent="-442913">
              <a:buFont typeface="Wingdings" panose="05000000000000000000" pitchFamily="2" charset="2"/>
              <a:buChar char="§"/>
            </a:pPr>
            <a:endParaRPr lang="ru-RU" sz="3200" dirty="0" smtClean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442913" indent="-442913">
              <a:buFont typeface="Wingdings" panose="05000000000000000000" pitchFamily="2" charset="2"/>
              <a:buChar char="§"/>
            </a:pPr>
            <a:r>
              <a:rPr lang="ru-RU" sz="3200" dirty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Автоматизация платежного календаря</a:t>
            </a:r>
          </a:p>
          <a:p>
            <a:pPr marL="442913" indent="-442913">
              <a:buFont typeface="Wingdings" panose="05000000000000000000" pitchFamily="2" charset="2"/>
              <a:buChar char="§"/>
            </a:pPr>
            <a:endParaRPr lang="ru-RU" sz="3200" dirty="0" smtClean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442913" indent="-442913">
              <a:buFont typeface="Wingdings" panose="05000000000000000000" pitchFamily="2" charset="2"/>
              <a:buChar char="§"/>
            </a:pPr>
            <a:r>
              <a:rPr lang="ru-RU" sz="3200" dirty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Связь с закупками</a:t>
            </a:r>
          </a:p>
        </p:txBody>
      </p:sp>
      <p:pic>
        <p:nvPicPr>
          <p:cNvPr id="335" name="Picture 2" descr="https://docplayer.biz.tr/docs-images/91/105542603/images/7-0.jpg"/>
          <p:cNvPicPr>
            <a:picLocks noChangeAspect="1" noChangeArrowheads="1"/>
          </p:cNvPicPr>
          <p:nvPr/>
        </p:nvPicPr>
        <p:blipFill rotWithShape="1">
          <a:blip r:embed="rId8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-2078756" y="1587119"/>
            <a:ext cx="4529855" cy="33703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2200241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8" name="Слайд think-cell" r:id="rId6" imgW="347" imgH="346" progId="TCLayout.ActiveDocument.1">
                  <p:embed/>
                </p:oleObj>
              </mc:Choice>
              <mc:Fallback>
                <p:oleObj name="Слайд think-cell" r:id="rId6" imgW="347" imgH="346" progId="TCLayout.ActiveDocument.1">
                  <p:embed/>
                  <p:pic>
                    <p:nvPicPr>
                      <p:cNvPr id="2" name="Объект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Прямоугольник 6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462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grpSp>
        <p:nvGrpSpPr>
          <p:cNvPr id="47" name="Группа 46"/>
          <p:cNvGrpSpPr/>
          <p:nvPr/>
        </p:nvGrpSpPr>
        <p:grpSpPr>
          <a:xfrm>
            <a:off x="330852" y="2551049"/>
            <a:ext cx="5811989" cy="3024873"/>
            <a:chOff x="17573719" y="830752"/>
            <a:chExt cx="6243699" cy="3249558"/>
          </a:xfrm>
        </p:grpSpPr>
        <p:pic>
          <p:nvPicPr>
            <p:cNvPr id="52" name="Рисунок 51">
              <a:extLst>
                <a:ext uri="{FF2B5EF4-FFF2-40B4-BE49-F238E27FC236}">
                  <a16:creationId xmlns:a16="http://schemas.microsoft.com/office/drawing/2014/main" xmlns="" id="{C256E583-D480-4C61-A9E7-63F713A2C9B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 bwMode="auto">
            <a:xfrm>
              <a:off x="17573719" y="830752"/>
              <a:ext cx="6243699" cy="324955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grpSp>
          <p:nvGrpSpPr>
            <p:cNvPr id="53" name="Группа 52"/>
            <p:cNvGrpSpPr/>
            <p:nvPr/>
          </p:nvGrpSpPr>
          <p:grpSpPr>
            <a:xfrm>
              <a:off x="18839508" y="1908790"/>
              <a:ext cx="393221" cy="325857"/>
              <a:chOff x="18894316" y="4280900"/>
              <a:chExt cx="393221" cy="325857"/>
            </a:xfrm>
          </p:grpSpPr>
          <p:pic>
            <p:nvPicPr>
              <p:cNvPr id="138" name="Рисунок 137">
                <a:extLst>
                  <a:ext uri="{FF2B5EF4-FFF2-40B4-BE49-F238E27FC236}">
                    <a16:creationId xmlns:a16="http://schemas.microsoft.com/office/drawing/2014/main" xmlns="" id="{C256E583-D480-4C61-A9E7-63F713A2C9B4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9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/>
            </p:blipFill>
            <p:spPr bwMode="auto">
              <a:xfrm>
                <a:off x="19049539" y="4280900"/>
                <a:ext cx="85598" cy="79144"/>
              </a:xfrm>
              <a:custGeom>
                <a:avLst/>
                <a:gdLst>
                  <a:gd name="connsiteX0" fmla="*/ 42799 w 85598"/>
                  <a:gd name="connsiteY0" fmla="*/ 0 h 79144"/>
                  <a:gd name="connsiteX1" fmla="*/ 85598 w 85598"/>
                  <a:gd name="connsiteY1" fmla="*/ 39572 h 79144"/>
                  <a:gd name="connsiteX2" fmla="*/ 42799 w 85598"/>
                  <a:gd name="connsiteY2" fmla="*/ 79144 h 79144"/>
                  <a:gd name="connsiteX3" fmla="*/ 0 w 85598"/>
                  <a:gd name="connsiteY3" fmla="*/ 39572 h 79144"/>
                  <a:gd name="connsiteX4" fmla="*/ 42799 w 85598"/>
                  <a:gd name="connsiteY4" fmla="*/ 0 h 791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5598" h="79144">
                    <a:moveTo>
                      <a:pt x="42799" y="0"/>
                    </a:moveTo>
                    <a:cubicBezTo>
                      <a:pt x="66436" y="0"/>
                      <a:pt x="85598" y="17717"/>
                      <a:pt x="85598" y="39572"/>
                    </a:cubicBezTo>
                    <a:cubicBezTo>
                      <a:pt x="85598" y="61427"/>
                      <a:pt x="66436" y="79144"/>
                      <a:pt x="42799" y="79144"/>
                    </a:cubicBezTo>
                    <a:cubicBezTo>
                      <a:pt x="19162" y="79144"/>
                      <a:pt x="0" y="61427"/>
                      <a:pt x="0" y="39572"/>
                    </a:cubicBezTo>
                    <a:cubicBezTo>
                      <a:pt x="0" y="17717"/>
                      <a:pt x="19162" y="0"/>
                      <a:pt x="42799" y="0"/>
                    </a:cubicBezTo>
                    <a:close/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139" name="Рисунок 138">
                <a:extLst>
                  <a:ext uri="{FF2B5EF4-FFF2-40B4-BE49-F238E27FC236}">
                    <a16:creationId xmlns:a16="http://schemas.microsoft.com/office/drawing/2014/main" xmlns="" id="{C256E583-D480-4C61-A9E7-63F713A2C9B4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9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/>
            </p:blipFill>
            <p:spPr bwMode="auto">
              <a:xfrm>
                <a:off x="19201939" y="4433300"/>
                <a:ext cx="85598" cy="79144"/>
              </a:xfrm>
              <a:custGeom>
                <a:avLst/>
                <a:gdLst>
                  <a:gd name="connsiteX0" fmla="*/ 42799 w 85598"/>
                  <a:gd name="connsiteY0" fmla="*/ 0 h 79144"/>
                  <a:gd name="connsiteX1" fmla="*/ 85598 w 85598"/>
                  <a:gd name="connsiteY1" fmla="*/ 39572 h 79144"/>
                  <a:gd name="connsiteX2" fmla="*/ 42799 w 85598"/>
                  <a:gd name="connsiteY2" fmla="*/ 79144 h 79144"/>
                  <a:gd name="connsiteX3" fmla="*/ 0 w 85598"/>
                  <a:gd name="connsiteY3" fmla="*/ 39572 h 79144"/>
                  <a:gd name="connsiteX4" fmla="*/ 42799 w 85598"/>
                  <a:gd name="connsiteY4" fmla="*/ 0 h 791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5598" h="79144">
                    <a:moveTo>
                      <a:pt x="42799" y="0"/>
                    </a:moveTo>
                    <a:cubicBezTo>
                      <a:pt x="66436" y="0"/>
                      <a:pt x="85598" y="17717"/>
                      <a:pt x="85598" y="39572"/>
                    </a:cubicBezTo>
                    <a:cubicBezTo>
                      <a:pt x="85598" y="61427"/>
                      <a:pt x="66436" y="79144"/>
                      <a:pt x="42799" y="79144"/>
                    </a:cubicBezTo>
                    <a:cubicBezTo>
                      <a:pt x="19162" y="79144"/>
                      <a:pt x="0" y="61427"/>
                      <a:pt x="0" y="39572"/>
                    </a:cubicBezTo>
                    <a:cubicBezTo>
                      <a:pt x="0" y="17717"/>
                      <a:pt x="19162" y="0"/>
                      <a:pt x="42799" y="0"/>
                    </a:cubicBezTo>
                    <a:close/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140" name="Рисунок 139">
                <a:extLst>
                  <a:ext uri="{FF2B5EF4-FFF2-40B4-BE49-F238E27FC236}">
                    <a16:creationId xmlns:a16="http://schemas.microsoft.com/office/drawing/2014/main" xmlns="" id="{C256E583-D480-4C61-A9E7-63F713A2C9B4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9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/>
            </p:blipFill>
            <p:spPr bwMode="auto">
              <a:xfrm>
                <a:off x="18894316" y="4354156"/>
                <a:ext cx="85598" cy="79144"/>
              </a:xfrm>
              <a:custGeom>
                <a:avLst/>
                <a:gdLst>
                  <a:gd name="connsiteX0" fmla="*/ 42799 w 85598"/>
                  <a:gd name="connsiteY0" fmla="*/ 0 h 79144"/>
                  <a:gd name="connsiteX1" fmla="*/ 85598 w 85598"/>
                  <a:gd name="connsiteY1" fmla="*/ 39572 h 79144"/>
                  <a:gd name="connsiteX2" fmla="*/ 42799 w 85598"/>
                  <a:gd name="connsiteY2" fmla="*/ 79144 h 79144"/>
                  <a:gd name="connsiteX3" fmla="*/ 0 w 85598"/>
                  <a:gd name="connsiteY3" fmla="*/ 39572 h 79144"/>
                  <a:gd name="connsiteX4" fmla="*/ 42799 w 85598"/>
                  <a:gd name="connsiteY4" fmla="*/ 0 h 791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5598" h="79144">
                    <a:moveTo>
                      <a:pt x="42799" y="0"/>
                    </a:moveTo>
                    <a:cubicBezTo>
                      <a:pt x="66436" y="0"/>
                      <a:pt x="85598" y="17717"/>
                      <a:pt x="85598" y="39572"/>
                    </a:cubicBezTo>
                    <a:cubicBezTo>
                      <a:pt x="85598" y="61427"/>
                      <a:pt x="66436" y="79144"/>
                      <a:pt x="42799" y="79144"/>
                    </a:cubicBezTo>
                    <a:cubicBezTo>
                      <a:pt x="19162" y="79144"/>
                      <a:pt x="0" y="61427"/>
                      <a:pt x="0" y="39572"/>
                    </a:cubicBezTo>
                    <a:cubicBezTo>
                      <a:pt x="0" y="17717"/>
                      <a:pt x="19162" y="0"/>
                      <a:pt x="42799" y="0"/>
                    </a:cubicBezTo>
                    <a:close/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141" name="Рисунок 140">
                <a:extLst>
                  <a:ext uri="{FF2B5EF4-FFF2-40B4-BE49-F238E27FC236}">
                    <a16:creationId xmlns:a16="http://schemas.microsoft.com/office/drawing/2014/main" xmlns="" id="{C256E583-D480-4C61-A9E7-63F713A2C9B4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9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/>
            </p:blipFill>
            <p:spPr bwMode="auto">
              <a:xfrm>
                <a:off x="19084215" y="4527613"/>
                <a:ext cx="85598" cy="79144"/>
              </a:xfrm>
              <a:custGeom>
                <a:avLst/>
                <a:gdLst>
                  <a:gd name="connsiteX0" fmla="*/ 42799 w 85598"/>
                  <a:gd name="connsiteY0" fmla="*/ 0 h 79144"/>
                  <a:gd name="connsiteX1" fmla="*/ 85598 w 85598"/>
                  <a:gd name="connsiteY1" fmla="*/ 39572 h 79144"/>
                  <a:gd name="connsiteX2" fmla="*/ 42799 w 85598"/>
                  <a:gd name="connsiteY2" fmla="*/ 79144 h 79144"/>
                  <a:gd name="connsiteX3" fmla="*/ 0 w 85598"/>
                  <a:gd name="connsiteY3" fmla="*/ 39572 h 79144"/>
                  <a:gd name="connsiteX4" fmla="*/ 42799 w 85598"/>
                  <a:gd name="connsiteY4" fmla="*/ 0 h 791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5598" h="79144">
                    <a:moveTo>
                      <a:pt x="42799" y="0"/>
                    </a:moveTo>
                    <a:cubicBezTo>
                      <a:pt x="66436" y="0"/>
                      <a:pt x="85598" y="17717"/>
                      <a:pt x="85598" y="39572"/>
                    </a:cubicBezTo>
                    <a:cubicBezTo>
                      <a:pt x="85598" y="61427"/>
                      <a:pt x="66436" y="79144"/>
                      <a:pt x="42799" y="79144"/>
                    </a:cubicBezTo>
                    <a:cubicBezTo>
                      <a:pt x="19162" y="79144"/>
                      <a:pt x="0" y="61427"/>
                      <a:pt x="0" y="39572"/>
                    </a:cubicBezTo>
                    <a:cubicBezTo>
                      <a:pt x="0" y="17717"/>
                      <a:pt x="19162" y="0"/>
                      <a:pt x="42799" y="0"/>
                    </a:cubicBezTo>
                    <a:close/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142" name="Рисунок 141">
                <a:extLst>
                  <a:ext uri="{FF2B5EF4-FFF2-40B4-BE49-F238E27FC236}">
                    <a16:creationId xmlns:a16="http://schemas.microsoft.com/office/drawing/2014/main" xmlns="" id="{C256E583-D480-4C61-A9E7-63F713A2C9B4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9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/>
            </p:blipFill>
            <p:spPr bwMode="auto">
              <a:xfrm>
                <a:off x="18996857" y="4438683"/>
                <a:ext cx="85598" cy="79144"/>
              </a:xfrm>
              <a:custGeom>
                <a:avLst/>
                <a:gdLst>
                  <a:gd name="connsiteX0" fmla="*/ 42799 w 85598"/>
                  <a:gd name="connsiteY0" fmla="*/ 0 h 79144"/>
                  <a:gd name="connsiteX1" fmla="*/ 85598 w 85598"/>
                  <a:gd name="connsiteY1" fmla="*/ 39572 h 79144"/>
                  <a:gd name="connsiteX2" fmla="*/ 42799 w 85598"/>
                  <a:gd name="connsiteY2" fmla="*/ 79144 h 79144"/>
                  <a:gd name="connsiteX3" fmla="*/ 0 w 85598"/>
                  <a:gd name="connsiteY3" fmla="*/ 39572 h 79144"/>
                  <a:gd name="connsiteX4" fmla="*/ 42799 w 85598"/>
                  <a:gd name="connsiteY4" fmla="*/ 0 h 791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5598" h="79144">
                    <a:moveTo>
                      <a:pt x="42799" y="0"/>
                    </a:moveTo>
                    <a:cubicBezTo>
                      <a:pt x="66436" y="0"/>
                      <a:pt x="85598" y="17717"/>
                      <a:pt x="85598" y="39572"/>
                    </a:cubicBezTo>
                    <a:cubicBezTo>
                      <a:pt x="85598" y="61427"/>
                      <a:pt x="66436" y="79144"/>
                      <a:pt x="42799" y="79144"/>
                    </a:cubicBezTo>
                    <a:cubicBezTo>
                      <a:pt x="19162" y="79144"/>
                      <a:pt x="0" y="61427"/>
                      <a:pt x="0" y="39572"/>
                    </a:cubicBezTo>
                    <a:cubicBezTo>
                      <a:pt x="0" y="17717"/>
                      <a:pt x="19162" y="0"/>
                      <a:pt x="42799" y="0"/>
                    </a:cubicBezTo>
                    <a:close/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  <p:grpSp>
          <p:nvGrpSpPr>
            <p:cNvPr id="54" name="Группа 53"/>
            <p:cNvGrpSpPr/>
            <p:nvPr/>
          </p:nvGrpSpPr>
          <p:grpSpPr>
            <a:xfrm>
              <a:off x="18586693" y="2566527"/>
              <a:ext cx="393221" cy="325857"/>
              <a:chOff x="18894316" y="4280900"/>
              <a:chExt cx="393221" cy="325857"/>
            </a:xfrm>
          </p:grpSpPr>
          <p:pic>
            <p:nvPicPr>
              <p:cNvPr id="133" name="Рисунок 132">
                <a:extLst>
                  <a:ext uri="{FF2B5EF4-FFF2-40B4-BE49-F238E27FC236}">
                    <a16:creationId xmlns:a16="http://schemas.microsoft.com/office/drawing/2014/main" xmlns="" id="{C256E583-D480-4C61-A9E7-63F713A2C9B4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9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/>
            </p:blipFill>
            <p:spPr bwMode="auto">
              <a:xfrm>
                <a:off x="19049539" y="4280900"/>
                <a:ext cx="85598" cy="79144"/>
              </a:xfrm>
              <a:custGeom>
                <a:avLst/>
                <a:gdLst>
                  <a:gd name="connsiteX0" fmla="*/ 42799 w 85598"/>
                  <a:gd name="connsiteY0" fmla="*/ 0 h 79144"/>
                  <a:gd name="connsiteX1" fmla="*/ 85598 w 85598"/>
                  <a:gd name="connsiteY1" fmla="*/ 39572 h 79144"/>
                  <a:gd name="connsiteX2" fmla="*/ 42799 w 85598"/>
                  <a:gd name="connsiteY2" fmla="*/ 79144 h 79144"/>
                  <a:gd name="connsiteX3" fmla="*/ 0 w 85598"/>
                  <a:gd name="connsiteY3" fmla="*/ 39572 h 79144"/>
                  <a:gd name="connsiteX4" fmla="*/ 42799 w 85598"/>
                  <a:gd name="connsiteY4" fmla="*/ 0 h 791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5598" h="79144">
                    <a:moveTo>
                      <a:pt x="42799" y="0"/>
                    </a:moveTo>
                    <a:cubicBezTo>
                      <a:pt x="66436" y="0"/>
                      <a:pt x="85598" y="17717"/>
                      <a:pt x="85598" y="39572"/>
                    </a:cubicBezTo>
                    <a:cubicBezTo>
                      <a:pt x="85598" y="61427"/>
                      <a:pt x="66436" y="79144"/>
                      <a:pt x="42799" y="79144"/>
                    </a:cubicBezTo>
                    <a:cubicBezTo>
                      <a:pt x="19162" y="79144"/>
                      <a:pt x="0" y="61427"/>
                      <a:pt x="0" y="39572"/>
                    </a:cubicBezTo>
                    <a:cubicBezTo>
                      <a:pt x="0" y="17717"/>
                      <a:pt x="19162" y="0"/>
                      <a:pt x="42799" y="0"/>
                    </a:cubicBezTo>
                    <a:close/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134" name="Рисунок 133">
                <a:extLst>
                  <a:ext uri="{FF2B5EF4-FFF2-40B4-BE49-F238E27FC236}">
                    <a16:creationId xmlns:a16="http://schemas.microsoft.com/office/drawing/2014/main" xmlns="" id="{C256E583-D480-4C61-A9E7-63F713A2C9B4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9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/>
            </p:blipFill>
            <p:spPr bwMode="auto">
              <a:xfrm>
                <a:off x="19201939" y="4433300"/>
                <a:ext cx="85598" cy="79144"/>
              </a:xfrm>
              <a:custGeom>
                <a:avLst/>
                <a:gdLst>
                  <a:gd name="connsiteX0" fmla="*/ 42799 w 85598"/>
                  <a:gd name="connsiteY0" fmla="*/ 0 h 79144"/>
                  <a:gd name="connsiteX1" fmla="*/ 85598 w 85598"/>
                  <a:gd name="connsiteY1" fmla="*/ 39572 h 79144"/>
                  <a:gd name="connsiteX2" fmla="*/ 42799 w 85598"/>
                  <a:gd name="connsiteY2" fmla="*/ 79144 h 79144"/>
                  <a:gd name="connsiteX3" fmla="*/ 0 w 85598"/>
                  <a:gd name="connsiteY3" fmla="*/ 39572 h 79144"/>
                  <a:gd name="connsiteX4" fmla="*/ 42799 w 85598"/>
                  <a:gd name="connsiteY4" fmla="*/ 0 h 791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5598" h="79144">
                    <a:moveTo>
                      <a:pt x="42799" y="0"/>
                    </a:moveTo>
                    <a:cubicBezTo>
                      <a:pt x="66436" y="0"/>
                      <a:pt x="85598" y="17717"/>
                      <a:pt x="85598" y="39572"/>
                    </a:cubicBezTo>
                    <a:cubicBezTo>
                      <a:pt x="85598" y="61427"/>
                      <a:pt x="66436" y="79144"/>
                      <a:pt x="42799" y="79144"/>
                    </a:cubicBezTo>
                    <a:cubicBezTo>
                      <a:pt x="19162" y="79144"/>
                      <a:pt x="0" y="61427"/>
                      <a:pt x="0" y="39572"/>
                    </a:cubicBezTo>
                    <a:cubicBezTo>
                      <a:pt x="0" y="17717"/>
                      <a:pt x="19162" y="0"/>
                      <a:pt x="42799" y="0"/>
                    </a:cubicBezTo>
                    <a:close/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135" name="Рисунок 134">
                <a:extLst>
                  <a:ext uri="{FF2B5EF4-FFF2-40B4-BE49-F238E27FC236}">
                    <a16:creationId xmlns:a16="http://schemas.microsoft.com/office/drawing/2014/main" xmlns="" id="{C256E583-D480-4C61-A9E7-63F713A2C9B4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9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/>
            </p:blipFill>
            <p:spPr bwMode="auto">
              <a:xfrm>
                <a:off x="18894316" y="4354156"/>
                <a:ext cx="85598" cy="79144"/>
              </a:xfrm>
              <a:custGeom>
                <a:avLst/>
                <a:gdLst>
                  <a:gd name="connsiteX0" fmla="*/ 42799 w 85598"/>
                  <a:gd name="connsiteY0" fmla="*/ 0 h 79144"/>
                  <a:gd name="connsiteX1" fmla="*/ 85598 w 85598"/>
                  <a:gd name="connsiteY1" fmla="*/ 39572 h 79144"/>
                  <a:gd name="connsiteX2" fmla="*/ 42799 w 85598"/>
                  <a:gd name="connsiteY2" fmla="*/ 79144 h 79144"/>
                  <a:gd name="connsiteX3" fmla="*/ 0 w 85598"/>
                  <a:gd name="connsiteY3" fmla="*/ 39572 h 79144"/>
                  <a:gd name="connsiteX4" fmla="*/ 42799 w 85598"/>
                  <a:gd name="connsiteY4" fmla="*/ 0 h 791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5598" h="79144">
                    <a:moveTo>
                      <a:pt x="42799" y="0"/>
                    </a:moveTo>
                    <a:cubicBezTo>
                      <a:pt x="66436" y="0"/>
                      <a:pt x="85598" y="17717"/>
                      <a:pt x="85598" y="39572"/>
                    </a:cubicBezTo>
                    <a:cubicBezTo>
                      <a:pt x="85598" y="61427"/>
                      <a:pt x="66436" y="79144"/>
                      <a:pt x="42799" y="79144"/>
                    </a:cubicBezTo>
                    <a:cubicBezTo>
                      <a:pt x="19162" y="79144"/>
                      <a:pt x="0" y="61427"/>
                      <a:pt x="0" y="39572"/>
                    </a:cubicBezTo>
                    <a:cubicBezTo>
                      <a:pt x="0" y="17717"/>
                      <a:pt x="19162" y="0"/>
                      <a:pt x="42799" y="0"/>
                    </a:cubicBezTo>
                    <a:close/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136" name="Рисунок 135">
                <a:extLst>
                  <a:ext uri="{FF2B5EF4-FFF2-40B4-BE49-F238E27FC236}">
                    <a16:creationId xmlns:a16="http://schemas.microsoft.com/office/drawing/2014/main" xmlns="" id="{C256E583-D480-4C61-A9E7-63F713A2C9B4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9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/>
            </p:blipFill>
            <p:spPr bwMode="auto">
              <a:xfrm>
                <a:off x="19084215" y="4527613"/>
                <a:ext cx="85598" cy="79144"/>
              </a:xfrm>
              <a:custGeom>
                <a:avLst/>
                <a:gdLst>
                  <a:gd name="connsiteX0" fmla="*/ 42799 w 85598"/>
                  <a:gd name="connsiteY0" fmla="*/ 0 h 79144"/>
                  <a:gd name="connsiteX1" fmla="*/ 85598 w 85598"/>
                  <a:gd name="connsiteY1" fmla="*/ 39572 h 79144"/>
                  <a:gd name="connsiteX2" fmla="*/ 42799 w 85598"/>
                  <a:gd name="connsiteY2" fmla="*/ 79144 h 79144"/>
                  <a:gd name="connsiteX3" fmla="*/ 0 w 85598"/>
                  <a:gd name="connsiteY3" fmla="*/ 39572 h 79144"/>
                  <a:gd name="connsiteX4" fmla="*/ 42799 w 85598"/>
                  <a:gd name="connsiteY4" fmla="*/ 0 h 791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5598" h="79144">
                    <a:moveTo>
                      <a:pt x="42799" y="0"/>
                    </a:moveTo>
                    <a:cubicBezTo>
                      <a:pt x="66436" y="0"/>
                      <a:pt x="85598" y="17717"/>
                      <a:pt x="85598" y="39572"/>
                    </a:cubicBezTo>
                    <a:cubicBezTo>
                      <a:pt x="85598" y="61427"/>
                      <a:pt x="66436" y="79144"/>
                      <a:pt x="42799" y="79144"/>
                    </a:cubicBezTo>
                    <a:cubicBezTo>
                      <a:pt x="19162" y="79144"/>
                      <a:pt x="0" y="61427"/>
                      <a:pt x="0" y="39572"/>
                    </a:cubicBezTo>
                    <a:cubicBezTo>
                      <a:pt x="0" y="17717"/>
                      <a:pt x="19162" y="0"/>
                      <a:pt x="42799" y="0"/>
                    </a:cubicBezTo>
                    <a:close/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137" name="Рисунок 136">
                <a:extLst>
                  <a:ext uri="{FF2B5EF4-FFF2-40B4-BE49-F238E27FC236}">
                    <a16:creationId xmlns:a16="http://schemas.microsoft.com/office/drawing/2014/main" xmlns="" id="{C256E583-D480-4C61-A9E7-63F713A2C9B4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9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/>
            </p:blipFill>
            <p:spPr bwMode="auto">
              <a:xfrm>
                <a:off x="18996857" y="4438683"/>
                <a:ext cx="85598" cy="79144"/>
              </a:xfrm>
              <a:custGeom>
                <a:avLst/>
                <a:gdLst>
                  <a:gd name="connsiteX0" fmla="*/ 42799 w 85598"/>
                  <a:gd name="connsiteY0" fmla="*/ 0 h 79144"/>
                  <a:gd name="connsiteX1" fmla="*/ 85598 w 85598"/>
                  <a:gd name="connsiteY1" fmla="*/ 39572 h 79144"/>
                  <a:gd name="connsiteX2" fmla="*/ 42799 w 85598"/>
                  <a:gd name="connsiteY2" fmla="*/ 79144 h 79144"/>
                  <a:gd name="connsiteX3" fmla="*/ 0 w 85598"/>
                  <a:gd name="connsiteY3" fmla="*/ 39572 h 79144"/>
                  <a:gd name="connsiteX4" fmla="*/ 42799 w 85598"/>
                  <a:gd name="connsiteY4" fmla="*/ 0 h 791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5598" h="79144">
                    <a:moveTo>
                      <a:pt x="42799" y="0"/>
                    </a:moveTo>
                    <a:cubicBezTo>
                      <a:pt x="66436" y="0"/>
                      <a:pt x="85598" y="17717"/>
                      <a:pt x="85598" y="39572"/>
                    </a:cubicBezTo>
                    <a:cubicBezTo>
                      <a:pt x="85598" y="61427"/>
                      <a:pt x="66436" y="79144"/>
                      <a:pt x="42799" y="79144"/>
                    </a:cubicBezTo>
                    <a:cubicBezTo>
                      <a:pt x="19162" y="79144"/>
                      <a:pt x="0" y="61427"/>
                      <a:pt x="0" y="39572"/>
                    </a:cubicBezTo>
                    <a:cubicBezTo>
                      <a:pt x="0" y="17717"/>
                      <a:pt x="19162" y="0"/>
                      <a:pt x="42799" y="0"/>
                    </a:cubicBezTo>
                    <a:close/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  <p:grpSp>
          <p:nvGrpSpPr>
            <p:cNvPr id="55" name="Группа 54"/>
            <p:cNvGrpSpPr/>
            <p:nvPr/>
          </p:nvGrpSpPr>
          <p:grpSpPr>
            <a:xfrm>
              <a:off x="18946998" y="2426857"/>
              <a:ext cx="393221" cy="325857"/>
              <a:chOff x="18894316" y="4280900"/>
              <a:chExt cx="393221" cy="325857"/>
            </a:xfrm>
          </p:grpSpPr>
          <p:pic>
            <p:nvPicPr>
              <p:cNvPr id="128" name="Рисунок 127">
                <a:extLst>
                  <a:ext uri="{FF2B5EF4-FFF2-40B4-BE49-F238E27FC236}">
                    <a16:creationId xmlns:a16="http://schemas.microsoft.com/office/drawing/2014/main" xmlns="" id="{C256E583-D480-4C61-A9E7-63F713A2C9B4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9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/>
            </p:blipFill>
            <p:spPr bwMode="auto">
              <a:xfrm>
                <a:off x="19049539" y="4280900"/>
                <a:ext cx="85598" cy="79144"/>
              </a:xfrm>
              <a:custGeom>
                <a:avLst/>
                <a:gdLst>
                  <a:gd name="connsiteX0" fmla="*/ 42799 w 85598"/>
                  <a:gd name="connsiteY0" fmla="*/ 0 h 79144"/>
                  <a:gd name="connsiteX1" fmla="*/ 85598 w 85598"/>
                  <a:gd name="connsiteY1" fmla="*/ 39572 h 79144"/>
                  <a:gd name="connsiteX2" fmla="*/ 42799 w 85598"/>
                  <a:gd name="connsiteY2" fmla="*/ 79144 h 79144"/>
                  <a:gd name="connsiteX3" fmla="*/ 0 w 85598"/>
                  <a:gd name="connsiteY3" fmla="*/ 39572 h 79144"/>
                  <a:gd name="connsiteX4" fmla="*/ 42799 w 85598"/>
                  <a:gd name="connsiteY4" fmla="*/ 0 h 791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5598" h="79144">
                    <a:moveTo>
                      <a:pt x="42799" y="0"/>
                    </a:moveTo>
                    <a:cubicBezTo>
                      <a:pt x="66436" y="0"/>
                      <a:pt x="85598" y="17717"/>
                      <a:pt x="85598" y="39572"/>
                    </a:cubicBezTo>
                    <a:cubicBezTo>
                      <a:pt x="85598" y="61427"/>
                      <a:pt x="66436" y="79144"/>
                      <a:pt x="42799" y="79144"/>
                    </a:cubicBezTo>
                    <a:cubicBezTo>
                      <a:pt x="19162" y="79144"/>
                      <a:pt x="0" y="61427"/>
                      <a:pt x="0" y="39572"/>
                    </a:cubicBezTo>
                    <a:cubicBezTo>
                      <a:pt x="0" y="17717"/>
                      <a:pt x="19162" y="0"/>
                      <a:pt x="42799" y="0"/>
                    </a:cubicBezTo>
                    <a:close/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129" name="Рисунок 128">
                <a:extLst>
                  <a:ext uri="{FF2B5EF4-FFF2-40B4-BE49-F238E27FC236}">
                    <a16:creationId xmlns:a16="http://schemas.microsoft.com/office/drawing/2014/main" xmlns="" id="{C256E583-D480-4C61-A9E7-63F713A2C9B4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9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/>
            </p:blipFill>
            <p:spPr bwMode="auto">
              <a:xfrm>
                <a:off x="19201939" y="4433300"/>
                <a:ext cx="85598" cy="79144"/>
              </a:xfrm>
              <a:custGeom>
                <a:avLst/>
                <a:gdLst>
                  <a:gd name="connsiteX0" fmla="*/ 42799 w 85598"/>
                  <a:gd name="connsiteY0" fmla="*/ 0 h 79144"/>
                  <a:gd name="connsiteX1" fmla="*/ 85598 w 85598"/>
                  <a:gd name="connsiteY1" fmla="*/ 39572 h 79144"/>
                  <a:gd name="connsiteX2" fmla="*/ 42799 w 85598"/>
                  <a:gd name="connsiteY2" fmla="*/ 79144 h 79144"/>
                  <a:gd name="connsiteX3" fmla="*/ 0 w 85598"/>
                  <a:gd name="connsiteY3" fmla="*/ 39572 h 79144"/>
                  <a:gd name="connsiteX4" fmla="*/ 42799 w 85598"/>
                  <a:gd name="connsiteY4" fmla="*/ 0 h 791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5598" h="79144">
                    <a:moveTo>
                      <a:pt x="42799" y="0"/>
                    </a:moveTo>
                    <a:cubicBezTo>
                      <a:pt x="66436" y="0"/>
                      <a:pt x="85598" y="17717"/>
                      <a:pt x="85598" y="39572"/>
                    </a:cubicBezTo>
                    <a:cubicBezTo>
                      <a:pt x="85598" y="61427"/>
                      <a:pt x="66436" y="79144"/>
                      <a:pt x="42799" y="79144"/>
                    </a:cubicBezTo>
                    <a:cubicBezTo>
                      <a:pt x="19162" y="79144"/>
                      <a:pt x="0" y="61427"/>
                      <a:pt x="0" y="39572"/>
                    </a:cubicBezTo>
                    <a:cubicBezTo>
                      <a:pt x="0" y="17717"/>
                      <a:pt x="19162" y="0"/>
                      <a:pt x="42799" y="0"/>
                    </a:cubicBezTo>
                    <a:close/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130" name="Рисунок 129">
                <a:extLst>
                  <a:ext uri="{FF2B5EF4-FFF2-40B4-BE49-F238E27FC236}">
                    <a16:creationId xmlns:a16="http://schemas.microsoft.com/office/drawing/2014/main" xmlns="" id="{C256E583-D480-4C61-A9E7-63F713A2C9B4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9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/>
            </p:blipFill>
            <p:spPr bwMode="auto">
              <a:xfrm>
                <a:off x="18894316" y="4354156"/>
                <a:ext cx="85598" cy="79144"/>
              </a:xfrm>
              <a:custGeom>
                <a:avLst/>
                <a:gdLst>
                  <a:gd name="connsiteX0" fmla="*/ 42799 w 85598"/>
                  <a:gd name="connsiteY0" fmla="*/ 0 h 79144"/>
                  <a:gd name="connsiteX1" fmla="*/ 85598 w 85598"/>
                  <a:gd name="connsiteY1" fmla="*/ 39572 h 79144"/>
                  <a:gd name="connsiteX2" fmla="*/ 42799 w 85598"/>
                  <a:gd name="connsiteY2" fmla="*/ 79144 h 79144"/>
                  <a:gd name="connsiteX3" fmla="*/ 0 w 85598"/>
                  <a:gd name="connsiteY3" fmla="*/ 39572 h 79144"/>
                  <a:gd name="connsiteX4" fmla="*/ 42799 w 85598"/>
                  <a:gd name="connsiteY4" fmla="*/ 0 h 791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5598" h="79144">
                    <a:moveTo>
                      <a:pt x="42799" y="0"/>
                    </a:moveTo>
                    <a:cubicBezTo>
                      <a:pt x="66436" y="0"/>
                      <a:pt x="85598" y="17717"/>
                      <a:pt x="85598" y="39572"/>
                    </a:cubicBezTo>
                    <a:cubicBezTo>
                      <a:pt x="85598" y="61427"/>
                      <a:pt x="66436" y="79144"/>
                      <a:pt x="42799" y="79144"/>
                    </a:cubicBezTo>
                    <a:cubicBezTo>
                      <a:pt x="19162" y="79144"/>
                      <a:pt x="0" y="61427"/>
                      <a:pt x="0" y="39572"/>
                    </a:cubicBezTo>
                    <a:cubicBezTo>
                      <a:pt x="0" y="17717"/>
                      <a:pt x="19162" y="0"/>
                      <a:pt x="42799" y="0"/>
                    </a:cubicBezTo>
                    <a:close/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131" name="Рисунок 130">
                <a:extLst>
                  <a:ext uri="{FF2B5EF4-FFF2-40B4-BE49-F238E27FC236}">
                    <a16:creationId xmlns:a16="http://schemas.microsoft.com/office/drawing/2014/main" xmlns="" id="{C256E583-D480-4C61-A9E7-63F713A2C9B4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9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/>
            </p:blipFill>
            <p:spPr bwMode="auto">
              <a:xfrm>
                <a:off x="19084215" y="4527613"/>
                <a:ext cx="85598" cy="79144"/>
              </a:xfrm>
              <a:custGeom>
                <a:avLst/>
                <a:gdLst>
                  <a:gd name="connsiteX0" fmla="*/ 42799 w 85598"/>
                  <a:gd name="connsiteY0" fmla="*/ 0 h 79144"/>
                  <a:gd name="connsiteX1" fmla="*/ 85598 w 85598"/>
                  <a:gd name="connsiteY1" fmla="*/ 39572 h 79144"/>
                  <a:gd name="connsiteX2" fmla="*/ 42799 w 85598"/>
                  <a:gd name="connsiteY2" fmla="*/ 79144 h 79144"/>
                  <a:gd name="connsiteX3" fmla="*/ 0 w 85598"/>
                  <a:gd name="connsiteY3" fmla="*/ 39572 h 79144"/>
                  <a:gd name="connsiteX4" fmla="*/ 42799 w 85598"/>
                  <a:gd name="connsiteY4" fmla="*/ 0 h 791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5598" h="79144">
                    <a:moveTo>
                      <a:pt x="42799" y="0"/>
                    </a:moveTo>
                    <a:cubicBezTo>
                      <a:pt x="66436" y="0"/>
                      <a:pt x="85598" y="17717"/>
                      <a:pt x="85598" y="39572"/>
                    </a:cubicBezTo>
                    <a:cubicBezTo>
                      <a:pt x="85598" y="61427"/>
                      <a:pt x="66436" y="79144"/>
                      <a:pt x="42799" y="79144"/>
                    </a:cubicBezTo>
                    <a:cubicBezTo>
                      <a:pt x="19162" y="79144"/>
                      <a:pt x="0" y="61427"/>
                      <a:pt x="0" y="39572"/>
                    </a:cubicBezTo>
                    <a:cubicBezTo>
                      <a:pt x="0" y="17717"/>
                      <a:pt x="19162" y="0"/>
                      <a:pt x="42799" y="0"/>
                    </a:cubicBezTo>
                    <a:close/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132" name="Рисунок 131">
                <a:extLst>
                  <a:ext uri="{FF2B5EF4-FFF2-40B4-BE49-F238E27FC236}">
                    <a16:creationId xmlns:a16="http://schemas.microsoft.com/office/drawing/2014/main" xmlns="" id="{C256E583-D480-4C61-A9E7-63F713A2C9B4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9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/>
            </p:blipFill>
            <p:spPr bwMode="auto">
              <a:xfrm>
                <a:off x="18996857" y="4438683"/>
                <a:ext cx="85598" cy="79144"/>
              </a:xfrm>
              <a:custGeom>
                <a:avLst/>
                <a:gdLst>
                  <a:gd name="connsiteX0" fmla="*/ 42799 w 85598"/>
                  <a:gd name="connsiteY0" fmla="*/ 0 h 79144"/>
                  <a:gd name="connsiteX1" fmla="*/ 85598 w 85598"/>
                  <a:gd name="connsiteY1" fmla="*/ 39572 h 79144"/>
                  <a:gd name="connsiteX2" fmla="*/ 42799 w 85598"/>
                  <a:gd name="connsiteY2" fmla="*/ 79144 h 79144"/>
                  <a:gd name="connsiteX3" fmla="*/ 0 w 85598"/>
                  <a:gd name="connsiteY3" fmla="*/ 39572 h 79144"/>
                  <a:gd name="connsiteX4" fmla="*/ 42799 w 85598"/>
                  <a:gd name="connsiteY4" fmla="*/ 0 h 791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5598" h="79144">
                    <a:moveTo>
                      <a:pt x="42799" y="0"/>
                    </a:moveTo>
                    <a:cubicBezTo>
                      <a:pt x="66436" y="0"/>
                      <a:pt x="85598" y="17717"/>
                      <a:pt x="85598" y="39572"/>
                    </a:cubicBezTo>
                    <a:cubicBezTo>
                      <a:pt x="85598" y="61427"/>
                      <a:pt x="66436" y="79144"/>
                      <a:pt x="42799" y="79144"/>
                    </a:cubicBezTo>
                    <a:cubicBezTo>
                      <a:pt x="19162" y="79144"/>
                      <a:pt x="0" y="61427"/>
                      <a:pt x="0" y="39572"/>
                    </a:cubicBezTo>
                    <a:cubicBezTo>
                      <a:pt x="0" y="17717"/>
                      <a:pt x="19162" y="0"/>
                      <a:pt x="42799" y="0"/>
                    </a:cubicBezTo>
                    <a:close/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  <p:grpSp>
          <p:nvGrpSpPr>
            <p:cNvPr id="56" name="Группа 55"/>
            <p:cNvGrpSpPr/>
            <p:nvPr/>
          </p:nvGrpSpPr>
          <p:grpSpPr>
            <a:xfrm>
              <a:off x="19373623" y="2689586"/>
              <a:ext cx="393221" cy="325857"/>
              <a:chOff x="18894316" y="4280900"/>
              <a:chExt cx="393221" cy="325857"/>
            </a:xfrm>
          </p:grpSpPr>
          <p:pic>
            <p:nvPicPr>
              <p:cNvPr id="123" name="Рисунок 122">
                <a:extLst>
                  <a:ext uri="{FF2B5EF4-FFF2-40B4-BE49-F238E27FC236}">
                    <a16:creationId xmlns:a16="http://schemas.microsoft.com/office/drawing/2014/main" xmlns="" id="{C256E583-D480-4C61-A9E7-63F713A2C9B4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9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/>
            </p:blipFill>
            <p:spPr bwMode="auto">
              <a:xfrm>
                <a:off x="19049539" y="4280900"/>
                <a:ext cx="85598" cy="79144"/>
              </a:xfrm>
              <a:custGeom>
                <a:avLst/>
                <a:gdLst>
                  <a:gd name="connsiteX0" fmla="*/ 42799 w 85598"/>
                  <a:gd name="connsiteY0" fmla="*/ 0 h 79144"/>
                  <a:gd name="connsiteX1" fmla="*/ 85598 w 85598"/>
                  <a:gd name="connsiteY1" fmla="*/ 39572 h 79144"/>
                  <a:gd name="connsiteX2" fmla="*/ 42799 w 85598"/>
                  <a:gd name="connsiteY2" fmla="*/ 79144 h 79144"/>
                  <a:gd name="connsiteX3" fmla="*/ 0 w 85598"/>
                  <a:gd name="connsiteY3" fmla="*/ 39572 h 79144"/>
                  <a:gd name="connsiteX4" fmla="*/ 42799 w 85598"/>
                  <a:gd name="connsiteY4" fmla="*/ 0 h 791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5598" h="79144">
                    <a:moveTo>
                      <a:pt x="42799" y="0"/>
                    </a:moveTo>
                    <a:cubicBezTo>
                      <a:pt x="66436" y="0"/>
                      <a:pt x="85598" y="17717"/>
                      <a:pt x="85598" y="39572"/>
                    </a:cubicBezTo>
                    <a:cubicBezTo>
                      <a:pt x="85598" y="61427"/>
                      <a:pt x="66436" y="79144"/>
                      <a:pt x="42799" y="79144"/>
                    </a:cubicBezTo>
                    <a:cubicBezTo>
                      <a:pt x="19162" y="79144"/>
                      <a:pt x="0" y="61427"/>
                      <a:pt x="0" y="39572"/>
                    </a:cubicBezTo>
                    <a:cubicBezTo>
                      <a:pt x="0" y="17717"/>
                      <a:pt x="19162" y="0"/>
                      <a:pt x="42799" y="0"/>
                    </a:cubicBezTo>
                    <a:close/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124" name="Рисунок 123">
                <a:extLst>
                  <a:ext uri="{FF2B5EF4-FFF2-40B4-BE49-F238E27FC236}">
                    <a16:creationId xmlns:a16="http://schemas.microsoft.com/office/drawing/2014/main" xmlns="" id="{C256E583-D480-4C61-A9E7-63F713A2C9B4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9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/>
            </p:blipFill>
            <p:spPr bwMode="auto">
              <a:xfrm>
                <a:off x="19201939" y="4433300"/>
                <a:ext cx="85598" cy="79144"/>
              </a:xfrm>
              <a:custGeom>
                <a:avLst/>
                <a:gdLst>
                  <a:gd name="connsiteX0" fmla="*/ 42799 w 85598"/>
                  <a:gd name="connsiteY0" fmla="*/ 0 h 79144"/>
                  <a:gd name="connsiteX1" fmla="*/ 85598 w 85598"/>
                  <a:gd name="connsiteY1" fmla="*/ 39572 h 79144"/>
                  <a:gd name="connsiteX2" fmla="*/ 42799 w 85598"/>
                  <a:gd name="connsiteY2" fmla="*/ 79144 h 79144"/>
                  <a:gd name="connsiteX3" fmla="*/ 0 w 85598"/>
                  <a:gd name="connsiteY3" fmla="*/ 39572 h 79144"/>
                  <a:gd name="connsiteX4" fmla="*/ 42799 w 85598"/>
                  <a:gd name="connsiteY4" fmla="*/ 0 h 791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5598" h="79144">
                    <a:moveTo>
                      <a:pt x="42799" y="0"/>
                    </a:moveTo>
                    <a:cubicBezTo>
                      <a:pt x="66436" y="0"/>
                      <a:pt x="85598" y="17717"/>
                      <a:pt x="85598" y="39572"/>
                    </a:cubicBezTo>
                    <a:cubicBezTo>
                      <a:pt x="85598" y="61427"/>
                      <a:pt x="66436" y="79144"/>
                      <a:pt x="42799" y="79144"/>
                    </a:cubicBezTo>
                    <a:cubicBezTo>
                      <a:pt x="19162" y="79144"/>
                      <a:pt x="0" y="61427"/>
                      <a:pt x="0" y="39572"/>
                    </a:cubicBezTo>
                    <a:cubicBezTo>
                      <a:pt x="0" y="17717"/>
                      <a:pt x="19162" y="0"/>
                      <a:pt x="42799" y="0"/>
                    </a:cubicBezTo>
                    <a:close/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125" name="Рисунок 124">
                <a:extLst>
                  <a:ext uri="{FF2B5EF4-FFF2-40B4-BE49-F238E27FC236}">
                    <a16:creationId xmlns:a16="http://schemas.microsoft.com/office/drawing/2014/main" xmlns="" id="{C256E583-D480-4C61-A9E7-63F713A2C9B4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9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/>
            </p:blipFill>
            <p:spPr bwMode="auto">
              <a:xfrm>
                <a:off x="18894316" y="4354156"/>
                <a:ext cx="85598" cy="79144"/>
              </a:xfrm>
              <a:custGeom>
                <a:avLst/>
                <a:gdLst>
                  <a:gd name="connsiteX0" fmla="*/ 42799 w 85598"/>
                  <a:gd name="connsiteY0" fmla="*/ 0 h 79144"/>
                  <a:gd name="connsiteX1" fmla="*/ 85598 w 85598"/>
                  <a:gd name="connsiteY1" fmla="*/ 39572 h 79144"/>
                  <a:gd name="connsiteX2" fmla="*/ 42799 w 85598"/>
                  <a:gd name="connsiteY2" fmla="*/ 79144 h 79144"/>
                  <a:gd name="connsiteX3" fmla="*/ 0 w 85598"/>
                  <a:gd name="connsiteY3" fmla="*/ 39572 h 79144"/>
                  <a:gd name="connsiteX4" fmla="*/ 42799 w 85598"/>
                  <a:gd name="connsiteY4" fmla="*/ 0 h 791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5598" h="79144">
                    <a:moveTo>
                      <a:pt x="42799" y="0"/>
                    </a:moveTo>
                    <a:cubicBezTo>
                      <a:pt x="66436" y="0"/>
                      <a:pt x="85598" y="17717"/>
                      <a:pt x="85598" y="39572"/>
                    </a:cubicBezTo>
                    <a:cubicBezTo>
                      <a:pt x="85598" y="61427"/>
                      <a:pt x="66436" y="79144"/>
                      <a:pt x="42799" y="79144"/>
                    </a:cubicBezTo>
                    <a:cubicBezTo>
                      <a:pt x="19162" y="79144"/>
                      <a:pt x="0" y="61427"/>
                      <a:pt x="0" y="39572"/>
                    </a:cubicBezTo>
                    <a:cubicBezTo>
                      <a:pt x="0" y="17717"/>
                      <a:pt x="19162" y="0"/>
                      <a:pt x="42799" y="0"/>
                    </a:cubicBezTo>
                    <a:close/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126" name="Рисунок 125">
                <a:extLst>
                  <a:ext uri="{FF2B5EF4-FFF2-40B4-BE49-F238E27FC236}">
                    <a16:creationId xmlns:a16="http://schemas.microsoft.com/office/drawing/2014/main" xmlns="" id="{C256E583-D480-4C61-A9E7-63F713A2C9B4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9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/>
            </p:blipFill>
            <p:spPr bwMode="auto">
              <a:xfrm>
                <a:off x="19084215" y="4527613"/>
                <a:ext cx="85598" cy="79144"/>
              </a:xfrm>
              <a:custGeom>
                <a:avLst/>
                <a:gdLst>
                  <a:gd name="connsiteX0" fmla="*/ 42799 w 85598"/>
                  <a:gd name="connsiteY0" fmla="*/ 0 h 79144"/>
                  <a:gd name="connsiteX1" fmla="*/ 85598 w 85598"/>
                  <a:gd name="connsiteY1" fmla="*/ 39572 h 79144"/>
                  <a:gd name="connsiteX2" fmla="*/ 42799 w 85598"/>
                  <a:gd name="connsiteY2" fmla="*/ 79144 h 79144"/>
                  <a:gd name="connsiteX3" fmla="*/ 0 w 85598"/>
                  <a:gd name="connsiteY3" fmla="*/ 39572 h 79144"/>
                  <a:gd name="connsiteX4" fmla="*/ 42799 w 85598"/>
                  <a:gd name="connsiteY4" fmla="*/ 0 h 791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5598" h="79144">
                    <a:moveTo>
                      <a:pt x="42799" y="0"/>
                    </a:moveTo>
                    <a:cubicBezTo>
                      <a:pt x="66436" y="0"/>
                      <a:pt x="85598" y="17717"/>
                      <a:pt x="85598" y="39572"/>
                    </a:cubicBezTo>
                    <a:cubicBezTo>
                      <a:pt x="85598" y="61427"/>
                      <a:pt x="66436" y="79144"/>
                      <a:pt x="42799" y="79144"/>
                    </a:cubicBezTo>
                    <a:cubicBezTo>
                      <a:pt x="19162" y="79144"/>
                      <a:pt x="0" y="61427"/>
                      <a:pt x="0" y="39572"/>
                    </a:cubicBezTo>
                    <a:cubicBezTo>
                      <a:pt x="0" y="17717"/>
                      <a:pt x="19162" y="0"/>
                      <a:pt x="42799" y="0"/>
                    </a:cubicBezTo>
                    <a:close/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127" name="Рисунок 126">
                <a:extLst>
                  <a:ext uri="{FF2B5EF4-FFF2-40B4-BE49-F238E27FC236}">
                    <a16:creationId xmlns:a16="http://schemas.microsoft.com/office/drawing/2014/main" xmlns="" id="{C256E583-D480-4C61-A9E7-63F713A2C9B4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9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/>
            </p:blipFill>
            <p:spPr bwMode="auto">
              <a:xfrm>
                <a:off x="18996857" y="4438683"/>
                <a:ext cx="85598" cy="79144"/>
              </a:xfrm>
              <a:custGeom>
                <a:avLst/>
                <a:gdLst>
                  <a:gd name="connsiteX0" fmla="*/ 42799 w 85598"/>
                  <a:gd name="connsiteY0" fmla="*/ 0 h 79144"/>
                  <a:gd name="connsiteX1" fmla="*/ 85598 w 85598"/>
                  <a:gd name="connsiteY1" fmla="*/ 39572 h 79144"/>
                  <a:gd name="connsiteX2" fmla="*/ 42799 w 85598"/>
                  <a:gd name="connsiteY2" fmla="*/ 79144 h 79144"/>
                  <a:gd name="connsiteX3" fmla="*/ 0 w 85598"/>
                  <a:gd name="connsiteY3" fmla="*/ 39572 h 79144"/>
                  <a:gd name="connsiteX4" fmla="*/ 42799 w 85598"/>
                  <a:gd name="connsiteY4" fmla="*/ 0 h 791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5598" h="79144">
                    <a:moveTo>
                      <a:pt x="42799" y="0"/>
                    </a:moveTo>
                    <a:cubicBezTo>
                      <a:pt x="66436" y="0"/>
                      <a:pt x="85598" y="17717"/>
                      <a:pt x="85598" y="39572"/>
                    </a:cubicBezTo>
                    <a:cubicBezTo>
                      <a:pt x="85598" y="61427"/>
                      <a:pt x="66436" y="79144"/>
                      <a:pt x="42799" y="79144"/>
                    </a:cubicBezTo>
                    <a:cubicBezTo>
                      <a:pt x="19162" y="79144"/>
                      <a:pt x="0" y="61427"/>
                      <a:pt x="0" y="39572"/>
                    </a:cubicBezTo>
                    <a:cubicBezTo>
                      <a:pt x="0" y="17717"/>
                      <a:pt x="19162" y="0"/>
                      <a:pt x="42799" y="0"/>
                    </a:cubicBezTo>
                    <a:close/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  <p:grpSp>
          <p:nvGrpSpPr>
            <p:cNvPr id="57" name="Группа 56"/>
            <p:cNvGrpSpPr/>
            <p:nvPr/>
          </p:nvGrpSpPr>
          <p:grpSpPr>
            <a:xfrm>
              <a:off x="19727859" y="2466429"/>
              <a:ext cx="393221" cy="325857"/>
              <a:chOff x="18894316" y="4280900"/>
              <a:chExt cx="393221" cy="325857"/>
            </a:xfrm>
          </p:grpSpPr>
          <p:pic>
            <p:nvPicPr>
              <p:cNvPr id="118" name="Рисунок 117">
                <a:extLst>
                  <a:ext uri="{FF2B5EF4-FFF2-40B4-BE49-F238E27FC236}">
                    <a16:creationId xmlns:a16="http://schemas.microsoft.com/office/drawing/2014/main" xmlns="" id="{C256E583-D480-4C61-A9E7-63F713A2C9B4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9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/>
            </p:blipFill>
            <p:spPr bwMode="auto">
              <a:xfrm>
                <a:off x="19049539" y="4280900"/>
                <a:ext cx="85598" cy="79144"/>
              </a:xfrm>
              <a:custGeom>
                <a:avLst/>
                <a:gdLst>
                  <a:gd name="connsiteX0" fmla="*/ 42799 w 85598"/>
                  <a:gd name="connsiteY0" fmla="*/ 0 h 79144"/>
                  <a:gd name="connsiteX1" fmla="*/ 85598 w 85598"/>
                  <a:gd name="connsiteY1" fmla="*/ 39572 h 79144"/>
                  <a:gd name="connsiteX2" fmla="*/ 42799 w 85598"/>
                  <a:gd name="connsiteY2" fmla="*/ 79144 h 79144"/>
                  <a:gd name="connsiteX3" fmla="*/ 0 w 85598"/>
                  <a:gd name="connsiteY3" fmla="*/ 39572 h 79144"/>
                  <a:gd name="connsiteX4" fmla="*/ 42799 w 85598"/>
                  <a:gd name="connsiteY4" fmla="*/ 0 h 791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5598" h="79144">
                    <a:moveTo>
                      <a:pt x="42799" y="0"/>
                    </a:moveTo>
                    <a:cubicBezTo>
                      <a:pt x="66436" y="0"/>
                      <a:pt x="85598" y="17717"/>
                      <a:pt x="85598" y="39572"/>
                    </a:cubicBezTo>
                    <a:cubicBezTo>
                      <a:pt x="85598" y="61427"/>
                      <a:pt x="66436" y="79144"/>
                      <a:pt x="42799" y="79144"/>
                    </a:cubicBezTo>
                    <a:cubicBezTo>
                      <a:pt x="19162" y="79144"/>
                      <a:pt x="0" y="61427"/>
                      <a:pt x="0" y="39572"/>
                    </a:cubicBezTo>
                    <a:cubicBezTo>
                      <a:pt x="0" y="17717"/>
                      <a:pt x="19162" y="0"/>
                      <a:pt x="42799" y="0"/>
                    </a:cubicBezTo>
                    <a:close/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119" name="Рисунок 118">
                <a:extLst>
                  <a:ext uri="{FF2B5EF4-FFF2-40B4-BE49-F238E27FC236}">
                    <a16:creationId xmlns:a16="http://schemas.microsoft.com/office/drawing/2014/main" xmlns="" id="{C256E583-D480-4C61-A9E7-63F713A2C9B4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9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/>
            </p:blipFill>
            <p:spPr bwMode="auto">
              <a:xfrm>
                <a:off x="19201939" y="4433300"/>
                <a:ext cx="85598" cy="79144"/>
              </a:xfrm>
              <a:custGeom>
                <a:avLst/>
                <a:gdLst>
                  <a:gd name="connsiteX0" fmla="*/ 42799 w 85598"/>
                  <a:gd name="connsiteY0" fmla="*/ 0 h 79144"/>
                  <a:gd name="connsiteX1" fmla="*/ 85598 w 85598"/>
                  <a:gd name="connsiteY1" fmla="*/ 39572 h 79144"/>
                  <a:gd name="connsiteX2" fmla="*/ 42799 w 85598"/>
                  <a:gd name="connsiteY2" fmla="*/ 79144 h 79144"/>
                  <a:gd name="connsiteX3" fmla="*/ 0 w 85598"/>
                  <a:gd name="connsiteY3" fmla="*/ 39572 h 79144"/>
                  <a:gd name="connsiteX4" fmla="*/ 42799 w 85598"/>
                  <a:gd name="connsiteY4" fmla="*/ 0 h 791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5598" h="79144">
                    <a:moveTo>
                      <a:pt x="42799" y="0"/>
                    </a:moveTo>
                    <a:cubicBezTo>
                      <a:pt x="66436" y="0"/>
                      <a:pt x="85598" y="17717"/>
                      <a:pt x="85598" y="39572"/>
                    </a:cubicBezTo>
                    <a:cubicBezTo>
                      <a:pt x="85598" y="61427"/>
                      <a:pt x="66436" y="79144"/>
                      <a:pt x="42799" y="79144"/>
                    </a:cubicBezTo>
                    <a:cubicBezTo>
                      <a:pt x="19162" y="79144"/>
                      <a:pt x="0" y="61427"/>
                      <a:pt x="0" y="39572"/>
                    </a:cubicBezTo>
                    <a:cubicBezTo>
                      <a:pt x="0" y="17717"/>
                      <a:pt x="19162" y="0"/>
                      <a:pt x="42799" y="0"/>
                    </a:cubicBezTo>
                    <a:close/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120" name="Рисунок 119">
                <a:extLst>
                  <a:ext uri="{FF2B5EF4-FFF2-40B4-BE49-F238E27FC236}">
                    <a16:creationId xmlns:a16="http://schemas.microsoft.com/office/drawing/2014/main" xmlns="" id="{C256E583-D480-4C61-A9E7-63F713A2C9B4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9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/>
            </p:blipFill>
            <p:spPr bwMode="auto">
              <a:xfrm>
                <a:off x="18894316" y="4354156"/>
                <a:ext cx="85598" cy="79144"/>
              </a:xfrm>
              <a:custGeom>
                <a:avLst/>
                <a:gdLst>
                  <a:gd name="connsiteX0" fmla="*/ 42799 w 85598"/>
                  <a:gd name="connsiteY0" fmla="*/ 0 h 79144"/>
                  <a:gd name="connsiteX1" fmla="*/ 85598 w 85598"/>
                  <a:gd name="connsiteY1" fmla="*/ 39572 h 79144"/>
                  <a:gd name="connsiteX2" fmla="*/ 42799 w 85598"/>
                  <a:gd name="connsiteY2" fmla="*/ 79144 h 79144"/>
                  <a:gd name="connsiteX3" fmla="*/ 0 w 85598"/>
                  <a:gd name="connsiteY3" fmla="*/ 39572 h 79144"/>
                  <a:gd name="connsiteX4" fmla="*/ 42799 w 85598"/>
                  <a:gd name="connsiteY4" fmla="*/ 0 h 791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5598" h="79144">
                    <a:moveTo>
                      <a:pt x="42799" y="0"/>
                    </a:moveTo>
                    <a:cubicBezTo>
                      <a:pt x="66436" y="0"/>
                      <a:pt x="85598" y="17717"/>
                      <a:pt x="85598" y="39572"/>
                    </a:cubicBezTo>
                    <a:cubicBezTo>
                      <a:pt x="85598" y="61427"/>
                      <a:pt x="66436" y="79144"/>
                      <a:pt x="42799" y="79144"/>
                    </a:cubicBezTo>
                    <a:cubicBezTo>
                      <a:pt x="19162" y="79144"/>
                      <a:pt x="0" y="61427"/>
                      <a:pt x="0" y="39572"/>
                    </a:cubicBezTo>
                    <a:cubicBezTo>
                      <a:pt x="0" y="17717"/>
                      <a:pt x="19162" y="0"/>
                      <a:pt x="42799" y="0"/>
                    </a:cubicBezTo>
                    <a:close/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121" name="Рисунок 120">
                <a:extLst>
                  <a:ext uri="{FF2B5EF4-FFF2-40B4-BE49-F238E27FC236}">
                    <a16:creationId xmlns:a16="http://schemas.microsoft.com/office/drawing/2014/main" xmlns="" id="{C256E583-D480-4C61-A9E7-63F713A2C9B4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9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/>
            </p:blipFill>
            <p:spPr bwMode="auto">
              <a:xfrm>
                <a:off x="19084215" y="4527613"/>
                <a:ext cx="85598" cy="79144"/>
              </a:xfrm>
              <a:custGeom>
                <a:avLst/>
                <a:gdLst>
                  <a:gd name="connsiteX0" fmla="*/ 42799 w 85598"/>
                  <a:gd name="connsiteY0" fmla="*/ 0 h 79144"/>
                  <a:gd name="connsiteX1" fmla="*/ 85598 w 85598"/>
                  <a:gd name="connsiteY1" fmla="*/ 39572 h 79144"/>
                  <a:gd name="connsiteX2" fmla="*/ 42799 w 85598"/>
                  <a:gd name="connsiteY2" fmla="*/ 79144 h 79144"/>
                  <a:gd name="connsiteX3" fmla="*/ 0 w 85598"/>
                  <a:gd name="connsiteY3" fmla="*/ 39572 h 79144"/>
                  <a:gd name="connsiteX4" fmla="*/ 42799 w 85598"/>
                  <a:gd name="connsiteY4" fmla="*/ 0 h 791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5598" h="79144">
                    <a:moveTo>
                      <a:pt x="42799" y="0"/>
                    </a:moveTo>
                    <a:cubicBezTo>
                      <a:pt x="66436" y="0"/>
                      <a:pt x="85598" y="17717"/>
                      <a:pt x="85598" y="39572"/>
                    </a:cubicBezTo>
                    <a:cubicBezTo>
                      <a:pt x="85598" y="61427"/>
                      <a:pt x="66436" y="79144"/>
                      <a:pt x="42799" y="79144"/>
                    </a:cubicBezTo>
                    <a:cubicBezTo>
                      <a:pt x="19162" y="79144"/>
                      <a:pt x="0" y="61427"/>
                      <a:pt x="0" y="39572"/>
                    </a:cubicBezTo>
                    <a:cubicBezTo>
                      <a:pt x="0" y="17717"/>
                      <a:pt x="19162" y="0"/>
                      <a:pt x="42799" y="0"/>
                    </a:cubicBezTo>
                    <a:close/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122" name="Рисунок 121">
                <a:extLst>
                  <a:ext uri="{FF2B5EF4-FFF2-40B4-BE49-F238E27FC236}">
                    <a16:creationId xmlns:a16="http://schemas.microsoft.com/office/drawing/2014/main" xmlns="" id="{C256E583-D480-4C61-A9E7-63F713A2C9B4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9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/>
            </p:blipFill>
            <p:spPr bwMode="auto">
              <a:xfrm>
                <a:off x="18996857" y="4438683"/>
                <a:ext cx="85598" cy="79144"/>
              </a:xfrm>
              <a:custGeom>
                <a:avLst/>
                <a:gdLst>
                  <a:gd name="connsiteX0" fmla="*/ 42799 w 85598"/>
                  <a:gd name="connsiteY0" fmla="*/ 0 h 79144"/>
                  <a:gd name="connsiteX1" fmla="*/ 85598 w 85598"/>
                  <a:gd name="connsiteY1" fmla="*/ 39572 h 79144"/>
                  <a:gd name="connsiteX2" fmla="*/ 42799 w 85598"/>
                  <a:gd name="connsiteY2" fmla="*/ 79144 h 79144"/>
                  <a:gd name="connsiteX3" fmla="*/ 0 w 85598"/>
                  <a:gd name="connsiteY3" fmla="*/ 39572 h 79144"/>
                  <a:gd name="connsiteX4" fmla="*/ 42799 w 85598"/>
                  <a:gd name="connsiteY4" fmla="*/ 0 h 791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5598" h="79144">
                    <a:moveTo>
                      <a:pt x="42799" y="0"/>
                    </a:moveTo>
                    <a:cubicBezTo>
                      <a:pt x="66436" y="0"/>
                      <a:pt x="85598" y="17717"/>
                      <a:pt x="85598" y="39572"/>
                    </a:cubicBezTo>
                    <a:cubicBezTo>
                      <a:pt x="85598" y="61427"/>
                      <a:pt x="66436" y="79144"/>
                      <a:pt x="42799" y="79144"/>
                    </a:cubicBezTo>
                    <a:cubicBezTo>
                      <a:pt x="19162" y="79144"/>
                      <a:pt x="0" y="61427"/>
                      <a:pt x="0" y="39572"/>
                    </a:cubicBezTo>
                    <a:cubicBezTo>
                      <a:pt x="0" y="17717"/>
                      <a:pt x="19162" y="0"/>
                      <a:pt x="42799" y="0"/>
                    </a:cubicBezTo>
                    <a:close/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  <p:grpSp>
          <p:nvGrpSpPr>
            <p:cNvPr id="58" name="Группа 57"/>
            <p:cNvGrpSpPr/>
            <p:nvPr/>
          </p:nvGrpSpPr>
          <p:grpSpPr>
            <a:xfrm>
              <a:off x="18418551" y="2737680"/>
              <a:ext cx="393221" cy="325857"/>
              <a:chOff x="18894316" y="4280900"/>
              <a:chExt cx="393221" cy="325857"/>
            </a:xfrm>
          </p:grpSpPr>
          <p:pic>
            <p:nvPicPr>
              <p:cNvPr id="113" name="Рисунок 112">
                <a:extLst>
                  <a:ext uri="{FF2B5EF4-FFF2-40B4-BE49-F238E27FC236}">
                    <a16:creationId xmlns:a16="http://schemas.microsoft.com/office/drawing/2014/main" xmlns="" id="{C256E583-D480-4C61-A9E7-63F713A2C9B4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9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/>
            </p:blipFill>
            <p:spPr bwMode="auto">
              <a:xfrm>
                <a:off x="19049539" y="4280900"/>
                <a:ext cx="85598" cy="79144"/>
              </a:xfrm>
              <a:custGeom>
                <a:avLst/>
                <a:gdLst>
                  <a:gd name="connsiteX0" fmla="*/ 42799 w 85598"/>
                  <a:gd name="connsiteY0" fmla="*/ 0 h 79144"/>
                  <a:gd name="connsiteX1" fmla="*/ 85598 w 85598"/>
                  <a:gd name="connsiteY1" fmla="*/ 39572 h 79144"/>
                  <a:gd name="connsiteX2" fmla="*/ 42799 w 85598"/>
                  <a:gd name="connsiteY2" fmla="*/ 79144 h 79144"/>
                  <a:gd name="connsiteX3" fmla="*/ 0 w 85598"/>
                  <a:gd name="connsiteY3" fmla="*/ 39572 h 79144"/>
                  <a:gd name="connsiteX4" fmla="*/ 42799 w 85598"/>
                  <a:gd name="connsiteY4" fmla="*/ 0 h 791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5598" h="79144">
                    <a:moveTo>
                      <a:pt x="42799" y="0"/>
                    </a:moveTo>
                    <a:cubicBezTo>
                      <a:pt x="66436" y="0"/>
                      <a:pt x="85598" y="17717"/>
                      <a:pt x="85598" y="39572"/>
                    </a:cubicBezTo>
                    <a:cubicBezTo>
                      <a:pt x="85598" y="61427"/>
                      <a:pt x="66436" y="79144"/>
                      <a:pt x="42799" y="79144"/>
                    </a:cubicBezTo>
                    <a:cubicBezTo>
                      <a:pt x="19162" y="79144"/>
                      <a:pt x="0" y="61427"/>
                      <a:pt x="0" y="39572"/>
                    </a:cubicBezTo>
                    <a:cubicBezTo>
                      <a:pt x="0" y="17717"/>
                      <a:pt x="19162" y="0"/>
                      <a:pt x="42799" y="0"/>
                    </a:cubicBezTo>
                    <a:close/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114" name="Рисунок 113">
                <a:extLst>
                  <a:ext uri="{FF2B5EF4-FFF2-40B4-BE49-F238E27FC236}">
                    <a16:creationId xmlns:a16="http://schemas.microsoft.com/office/drawing/2014/main" xmlns="" id="{C256E583-D480-4C61-A9E7-63F713A2C9B4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9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/>
            </p:blipFill>
            <p:spPr bwMode="auto">
              <a:xfrm>
                <a:off x="19201939" y="4433300"/>
                <a:ext cx="85598" cy="79144"/>
              </a:xfrm>
              <a:custGeom>
                <a:avLst/>
                <a:gdLst>
                  <a:gd name="connsiteX0" fmla="*/ 42799 w 85598"/>
                  <a:gd name="connsiteY0" fmla="*/ 0 h 79144"/>
                  <a:gd name="connsiteX1" fmla="*/ 85598 w 85598"/>
                  <a:gd name="connsiteY1" fmla="*/ 39572 h 79144"/>
                  <a:gd name="connsiteX2" fmla="*/ 42799 w 85598"/>
                  <a:gd name="connsiteY2" fmla="*/ 79144 h 79144"/>
                  <a:gd name="connsiteX3" fmla="*/ 0 w 85598"/>
                  <a:gd name="connsiteY3" fmla="*/ 39572 h 79144"/>
                  <a:gd name="connsiteX4" fmla="*/ 42799 w 85598"/>
                  <a:gd name="connsiteY4" fmla="*/ 0 h 791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5598" h="79144">
                    <a:moveTo>
                      <a:pt x="42799" y="0"/>
                    </a:moveTo>
                    <a:cubicBezTo>
                      <a:pt x="66436" y="0"/>
                      <a:pt x="85598" y="17717"/>
                      <a:pt x="85598" y="39572"/>
                    </a:cubicBezTo>
                    <a:cubicBezTo>
                      <a:pt x="85598" y="61427"/>
                      <a:pt x="66436" y="79144"/>
                      <a:pt x="42799" y="79144"/>
                    </a:cubicBezTo>
                    <a:cubicBezTo>
                      <a:pt x="19162" y="79144"/>
                      <a:pt x="0" y="61427"/>
                      <a:pt x="0" y="39572"/>
                    </a:cubicBezTo>
                    <a:cubicBezTo>
                      <a:pt x="0" y="17717"/>
                      <a:pt x="19162" y="0"/>
                      <a:pt x="42799" y="0"/>
                    </a:cubicBezTo>
                    <a:close/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115" name="Рисунок 114">
                <a:extLst>
                  <a:ext uri="{FF2B5EF4-FFF2-40B4-BE49-F238E27FC236}">
                    <a16:creationId xmlns:a16="http://schemas.microsoft.com/office/drawing/2014/main" xmlns="" id="{C256E583-D480-4C61-A9E7-63F713A2C9B4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9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/>
            </p:blipFill>
            <p:spPr bwMode="auto">
              <a:xfrm>
                <a:off x="18894316" y="4354156"/>
                <a:ext cx="85598" cy="79144"/>
              </a:xfrm>
              <a:custGeom>
                <a:avLst/>
                <a:gdLst>
                  <a:gd name="connsiteX0" fmla="*/ 42799 w 85598"/>
                  <a:gd name="connsiteY0" fmla="*/ 0 h 79144"/>
                  <a:gd name="connsiteX1" fmla="*/ 85598 w 85598"/>
                  <a:gd name="connsiteY1" fmla="*/ 39572 h 79144"/>
                  <a:gd name="connsiteX2" fmla="*/ 42799 w 85598"/>
                  <a:gd name="connsiteY2" fmla="*/ 79144 h 79144"/>
                  <a:gd name="connsiteX3" fmla="*/ 0 w 85598"/>
                  <a:gd name="connsiteY3" fmla="*/ 39572 h 79144"/>
                  <a:gd name="connsiteX4" fmla="*/ 42799 w 85598"/>
                  <a:gd name="connsiteY4" fmla="*/ 0 h 791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5598" h="79144">
                    <a:moveTo>
                      <a:pt x="42799" y="0"/>
                    </a:moveTo>
                    <a:cubicBezTo>
                      <a:pt x="66436" y="0"/>
                      <a:pt x="85598" y="17717"/>
                      <a:pt x="85598" y="39572"/>
                    </a:cubicBezTo>
                    <a:cubicBezTo>
                      <a:pt x="85598" y="61427"/>
                      <a:pt x="66436" y="79144"/>
                      <a:pt x="42799" y="79144"/>
                    </a:cubicBezTo>
                    <a:cubicBezTo>
                      <a:pt x="19162" y="79144"/>
                      <a:pt x="0" y="61427"/>
                      <a:pt x="0" y="39572"/>
                    </a:cubicBezTo>
                    <a:cubicBezTo>
                      <a:pt x="0" y="17717"/>
                      <a:pt x="19162" y="0"/>
                      <a:pt x="42799" y="0"/>
                    </a:cubicBezTo>
                    <a:close/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116" name="Рисунок 115">
                <a:extLst>
                  <a:ext uri="{FF2B5EF4-FFF2-40B4-BE49-F238E27FC236}">
                    <a16:creationId xmlns:a16="http://schemas.microsoft.com/office/drawing/2014/main" xmlns="" id="{C256E583-D480-4C61-A9E7-63F713A2C9B4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9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/>
            </p:blipFill>
            <p:spPr bwMode="auto">
              <a:xfrm>
                <a:off x="19084215" y="4527613"/>
                <a:ext cx="85598" cy="79144"/>
              </a:xfrm>
              <a:custGeom>
                <a:avLst/>
                <a:gdLst>
                  <a:gd name="connsiteX0" fmla="*/ 42799 w 85598"/>
                  <a:gd name="connsiteY0" fmla="*/ 0 h 79144"/>
                  <a:gd name="connsiteX1" fmla="*/ 85598 w 85598"/>
                  <a:gd name="connsiteY1" fmla="*/ 39572 h 79144"/>
                  <a:gd name="connsiteX2" fmla="*/ 42799 w 85598"/>
                  <a:gd name="connsiteY2" fmla="*/ 79144 h 79144"/>
                  <a:gd name="connsiteX3" fmla="*/ 0 w 85598"/>
                  <a:gd name="connsiteY3" fmla="*/ 39572 h 79144"/>
                  <a:gd name="connsiteX4" fmla="*/ 42799 w 85598"/>
                  <a:gd name="connsiteY4" fmla="*/ 0 h 791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5598" h="79144">
                    <a:moveTo>
                      <a:pt x="42799" y="0"/>
                    </a:moveTo>
                    <a:cubicBezTo>
                      <a:pt x="66436" y="0"/>
                      <a:pt x="85598" y="17717"/>
                      <a:pt x="85598" y="39572"/>
                    </a:cubicBezTo>
                    <a:cubicBezTo>
                      <a:pt x="85598" y="61427"/>
                      <a:pt x="66436" y="79144"/>
                      <a:pt x="42799" y="79144"/>
                    </a:cubicBezTo>
                    <a:cubicBezTo>
                      <a:pt x="19162" y="79144"/>
                      <a:pt x="0" y="61427"/>
                      <a:pt x="0" y="39572"/>
                    </a:cubicBezTo>
                    <a:cubicBezTo>
                      <a:pt x="0" y="17717"/>
                      <a:pt x="19162" y="0"/>
                      <a:pt x="42799" y="0"/>
                    </a:cubicBezTo>
                    <a:close/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117" name="Рисунок 116">
                <a:extLst>
                  <a:ext uri="{FF2B5EF4-FFF2-40B4-BE49-F238E27FC236}">
                    <a16:creationId xmlns:a16="http://schemas.microsoft.com/office/drawing/2014/main" xmlns="" id="{C256E583-D480-4C61-A9E7-63F713A2C9B4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9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/>
            </p:blipFill>
            <p:spPr bwMode="auto">
              <a:xfrm>
                <a:off x="18996857" y="4438683"/>
                <a:ext cx="85598" cy="79144"/>
              </a:xfrm>
              <a:custGeom>
                <a:avLst/>
                <a:gdLst>
                  <a:gd name="connsiteX0" fmla="*/ 42799 w 85598"/>
                  <a:gd name="connsiteY0" fmla="*/ 0 h 79144"/>
                  <a:gd name="connsiteX1" fmla="*/ 85598 w 85598"/>
                  <a:gd name="connsiteY1" fmla="*/ 39572 h 79144"/>
                  <a:gd name="connsiteX2" fmla="*/ 42799 w 85598"/>
                  <a:gd name="connsiteY2" fmla="*/ 79144 h 79144"/>
                  <a:gd name="connsiteX3" fmla="*/ 0 w 85598"/>
                  <a:gd name="connsiteY3" fmla="*/ 39572 h 79144"/>
                  <a:gd name="connsiteX4" fmla="*/ 42799 w 85598"/>
                  <a:gd name="connsiteY4" fmla="*/ 0 h 791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5598" h="79144">
                    <a:moveTo>
                      <a:pt x="42799" y="0"/>
                    </a:moveTo>
                    <a:cubicBezTo>
                      <a:pt x="66436" y="0"/>
                      <a:pt x="85598" y="17717"/>
                      <a:pt x="85598" y="39572"/>
                    </a:cubicBezTo>
                    <a:cubicBezTo>
                      <a:pt x="85598" y="61427"/>
                      <a:pt x="66436" y="79144"/>
                      <a:pt x="42799" y="79144"/>
                    </a:cubicBezTo>
                    <a:cubicBezTo>
                      <a:pt x="19162" y="79144"/>
                      <a:pt x="0" y="61427"/>
                      <a:pt x="0" y="39572"/>
                    </a:cubicBezTo>
                    <a:cubicBezTo>
                      <a:pt x="0" y="17717"/>
                      <a:pt x="19162" y="0"/>
                      <a:pt x="42799" y="0"/>
                    </a:cubicBezTo>
                    <a:close/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  <p:grpSp>
          <p:nvGrpSpPr>
            <p:cNvPr id="59" name="Группа 58"/>
            <p:cNvGrpSpPr/>
            <p:nvPr/>
          </p:nvGrpSpPr>
          <p:grpSpPr>
            <a:xfrm>
              <a:off x="19852909" y="2847933"/>
              <a:ext cx="393221" cy="325857"/>
              <a:chOff x="18894316" y="4280900"/>
              <a:chExt cx="393221" cy="325857"/>
            </a:xfrm>
          </p:grpSpPr>
          <p:pic>
            <p:nvPicPr>
              <p:cNvPr id="108" name="Рисунок 107">
                <a:extLst>
                  <a:ext uri="{FF2B5EF4-FFF2-40B4-BE49-F238E27FC236}">
                    <a16:creationId xmlns:a16="http://schemas.microsoft.com/office/drawing/2014/main" xmlns="" id="{C256E583-D480-4C61-A9E7-63F713A2C9B4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9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/>
            </p:blipFill>
            <p:spPr bwMode="auto">
              <a:xfrm>
                <a:off x="19049539" y="4280900"/>
                <a:ext cx="85598" cy="79144"/>
              </a:xfrm>
              <a:custGeom>
                <a:avLst/>
                <a:gdLst>
                  <a:gd name="connsiteX0" fmla="*/ 42799 w 85598"/>
                  <a:gd name="connsiteY0" fmla="*/ 0 h 79144"/>
                  <a:gd name="connsiteX1" fmla="*/ 85598 w 85598"/>
                  <a:gd name="connsiteY1" fmla="*/ 39572 h 79144"/>
                  <a:gd name="connsiteX2" fmla="*/ 42799 w 85598"/>
                  <a:gd name="connsiteY2" fmla="*/ 79144 h 79144"/>
                  <a:gd name="connsiteX3" fmla="*/ 0 w 85598"/>
                  <a:gd name="connsiteY3" fmla="*/ 39572 h 79144"/>
                  <a:gd name="connsiteX4" fmla="*/ 42799 w 85598"/>
                  <a:gd name="connsiteY4" fmla="*/ 0 h 791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5598" h="79144">
                    <a:moveTo>
                      <a:pt x="42799" y="0"/>
                    </a:moveTo>
                    <a:cubicBezTo>
                      <a:pt x="66436" y="0"/>
                      <a:pt x="85598" y="17717"/>
                      <a:pt x="85598" y="39572"/>
                    </a:cubicBezTo>
                    <a:cubicBezTo>
                      <a:pt x="85598" y="61427"/>
                      <a:pt x="66436" y="79144"/>
                      <a:pt x="42799" y="79144"/>
                    </a:cubicBezTo>
                    <a:cubicBezTo>
                      <a:pt x="19162" y="79144"/>
                      <a:pt x="0" y="61427"/>
                      <a:pt x="0" y="39572"/>
                    </a:cubicBezTo>
                    <a:cubicBezTo>
                      <a:pt x="0" y="17717"/>
                      <a:pt x="19162" y="0"/>
                      <a:pt x="42799" y="0"/>
                    </a:cubicBezTo>
                    <a:close/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109" name="Рисунок 108">
                <a:extLst>
                  <a:ext uri="{FF2B5EF4-FFF2-40B4-BE49-F238E27FC236}">
                    <a16:creationId xmlns:a16="http://schemas.microsoft.com/office/drawing/2014/main" xmlns="" id="{C256E583-D480-4C61-A9E7-63F713A2C9B4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9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/>
            </p:blipFill>
            <p:spPr bwMode="auto">
              <a:xfrm>
                <a:off x="19201939" y="4433300"/>
                <a:ext cx="85598" cy="79144"/>
              </a:xfrm>
              <a:custGeom>
                <a:avLst/>
                <a:gdLst>
                  <a:gd name="connsiteX0" fmla="*/ 42799 w 85598"/>
                  <a:gd name="connsiteY0" fmla="*/ 0 h 79144"/>
                  <a:gd name="connsiteX1" fmla="*/ 85598 w 85598"/>
                  <a:gd name="connsiteY1" fmla="*/ 39572 h 79144"/>
                  <a:gd name="connsiteX2" fmla="*/ 42799 w 85598"/>
                  <a:gd name="connsiteY2" fmla="*/ 79144 h 79144"/>
                  <a:gd name="connsiteX3" fmla="*/ 0 w 85598"/>
                  <a:gd name="connsiteY3" fmla="*/ 39572 h 79144"/>
                  <a:gd name="connsiteX4" fmla="*/ 42799 w 85598"/>
                  <a:gd name="connsiteY4" fmla="*/ 0 h 791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5598" h="79144">
                    <a:moveTo>
                      <a:pt x="42799" y="0"/>
                    </a:moveTo>
                    <a:cubicBezTo>
                      <a:pt x="66436" y="0"/>
                      <a:pt x="85598" y="17717"/>
                      <a:pt x="85598" y="39572"/>
                    </a:cubicBezTo>
                    <a:cubicBezTo>
                      <a:pt x="85598" y="61427"/>
                      <a:pt x="66436" y="79144"/>
                      <a:pt x="42799" y="79144"/>
                    </a:cubicBezTo>
                    <a:cubicBezTo>
                      <a:pt x="19162" y="79144"/>
                      <a:pt x="0" y="61427"/>
                      <a:pt x="0" y="39572"/>
                    </a:cubicBezTo>
                    <a:cubicBezTo>
                      <a:pt x="0" y="17717"/>
                      <a:pt x="19162" y="0"/>
                      <a:pt x="42799" y="0"/>
                    </a:cubicBezTo>
                    <a:close/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110" name="Рисунок 109">
                <a:extLst>
                  <a:ext uri="{FF2B5EF4-FFF2-40B4-BE49-F238E27FC236}">
                    <a16:creationId xmlns:a16="http://schemas.microsoft.com/office/drawing/2014/main" xmlns="" id="{C256E583-D480-4C61-A9E7-63F713A2C9B4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9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/>
            </p:blipFill>
            <p:spPr bwMode="auto">
              <a:xfrm>
                <a:off x="18894316" y="4354156"/>
                <a:ext cx="85598" cy="79144"/>
              </a:xfrm>
              <a:custGeom>
                <a:avLst/>
                <a:gdLst>
                  <a:gd name="connsiteX0" fmla="*/ 42799 w 85598"/>
                  <a:gd name="connsiteY0" fmla="*/ 0 h 79144"/>
                  <a:gd name="connsiteX1" fmla="*/ 85598 w 85598"/>
                  <a:gd name="connsiteY1" fmla="*/ 39572 h 79144"/>
                  <a:gd name="connsiteX2" fmla="*/ 42799 w 85598"/>
                  <a:gd name="connsiteY2" fmla="*/ 79144 h 79144"/>
                  <a:gd name="connsiteX3" fmla="*/ 0 w 85598"/>
                  <a:gd name="connsiteY3" fmla="*/ 39572 h 79144"/>
                  <a:gd name="connsiteX4" fmla="*/ 42799 w 85598"/>
                  <a:gd name="connsiteY4" fmla="*/ 0 h 791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5598" h="79144">
                    <a:moveTo>
                      <a:pt x="42799" y="0"/>
                    </a:moveTo>
                    <a:cubicBezTo>
                      <a:pt x="66436" y="0"/>
                      <a:pt x="85598" y="17717"/>
                      <a:pt x="85598" y="39572"/>
                    </a:cubicBezTo>
                    <a:cubicBezTo>
                      <a:pt x="85598" y="61427"/>
                      <a:pt x="66436" y="79144"/>
                      <a:pt x="42799" y="79144"/>
                    </a:cubicBezTo>
                    <a:cubicBezTo>
                      <a:pt x="19162" y="79144"/>
                      <a:pt x="0" y="61427"/>
                      <a:pt x="0" y="39572"/>
                    </a:cubicBezTo>
                    <a:cubicBezTo>
                      <a:pt x="0" y="17717"/>
                      <a:pt x="19162" y="0"/>
                      <a:pt x="42799" y="0"/>
                    </a:cubicBezTo>
                    <a:close/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111" name="Рисунок 110">
                <a:extLst>
                  <a:ext uri="{FF2B5EF4-FFF2-40B4-BE49-F238E27FC236}">
                    <a16:creationId xmlns:a16="http://schemas.microsoft.com/office/drawing/2014/main" xmlns="" id="{C256E583-D480-4C61-A9E7-63F713A2C9B4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9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/>
            </p:blipFill>
            <p:spPr bwMode="auto">
              <a:xfrm>
                <a:off x="19084215" y="4527613"/>
                <a:ext cx="85598" cy="79144"/>
              </a:xfrm>
              <a:custGeom>
                <a:avLst/>
                <a:gdLst>
                  <a:gd name="connsiteX0" fmla="*/ 42799 w 85598"/>
                  <a:gd name="connsiteY0" fmla="*/ 0 h 79144"/>
                  <a:gd name="connsiteX1" fmla="*/ 85598 w 85598"/>
                  <a:gd name="connsiteY1" fmla="*/ 39572 h 79144"/>
                  <a:gd name="connsiteX2" fmla="*/ 42799 w 85598"/>
                  <a:gd name="connsiteY2" fmla="*/ 79144 h 79144"/>
                  <a:gd name="connsiteX3" fmla="*/ 0 w 85598"/>
                  <a:gd name="connsiteY3" fmla="*/ 39572 h 79144"/>
                  <a:gd name="connsiteX4" fmla="*/ 42799 w 85598"/>
                  <a:gd name="connsiteY4" fmla="*/ 0 h 791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5598" h="79144">
                    <a:moveTo>
                      <a:pt x="42799" y="0"/>
                    </a:moveTo>
                    <a:cubicBezTo>
                      <a:pt x="66436" y="0"/>
                      <a:pt x="85598" y="17717"/>
                      <a:pt x="85598" y="39572"/>
                    </a:cubicBezTo>
                    <a:cubicBezTo>
                      <a:pt x="85598" y="61427"/>
                      <a:pt x="66436" y="79144"/>
                      <a:pt x="42799" y="79144"/>
                    </a:cubicBezTo>
                    <a:cubicBezTo>
                      <a:pt x="19162" y="79144"/>
                      <a:pt x="0" y="61427"/>
                      <a:pt x="0" y="39572"/>
                    </a:cubicBezTo>
                    <a:cubicBezTo>
                      <a:pt x="0" y="17717"/>
                      <a:pt x="19162" y="0"/>
                      <a:pt x="42799" y="0"/>
                    </a:cubicBezTo>
                    <a:close/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112" name="Рисунок 111">
                <a:extLst>
                  <a:ext uri="{FF2B5EF4-FFF2-40B4-BE49-F238E27FC236}">
                    <a16:creationId xmlns:a16="http://schemas.microsoft.com/office/drawing/2014/main" xmlns="" id="{C256E583-D480-4C61-A9E7-63F713A2C9B4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9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/>
            </p:blipFill>
            <p:spPr bwMode="auto">
              <a:xfrm>
                <a:off x="18996857" y="4438683"/>
                <a:ext cx="85598" cy="79144"/>
              </a:xfrm>
              <a:custGeom>
                <a:avLst/>
                <a:gdLst>
                  <a:gd name="connsiteX0" fmla="*/ 42799 w 85598"/>
                  <a:gd name="connsiteY0" fmla="*/ 0 h 79144"/>
                  <a:gd name="connsiteX1" fmla="*/ 85598 w 85598"/>
                  <a:gd name="connsiteY1" fmla="*/ 39572 h 79144"/>
                  <a:gd name="connsiteX2" fmla="*/ 42799 w 85598"/>
                  <a:gd name="connsiteY2" fmla="*/ 79144 h 79144"/>
                  <a:gd name="connsiteX3" fmla="*/ 0 w 85598"/>
                  <a:gd name="connsiteY3" fmla="*/ 39572 h 79144"/>
                  <a:gd name="connsiteX4" fmla="*/ 42799 w 85598"/>
                  <a:gd name="connsiteY4" fmla="*/ 0 h 791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5598" h="79144">
                    <a:moveTo>
                      <a:pt x="42799" y="0"/>
                    </a:moveTo>
                    <a:cubicBezTo>
                      <a:pt x="66436" y="0"/>
                      <a:pt x="85598" y="17717"/>
                      <a:pt x="85598" y="39572"/>
                    </a:cubicBezTo>
                    <a:cubicBezTo>
                      <a:pt x="85598" y="61427"/>
                      <a:pt x="66436" y="79144"/>
                      <a:pt x="42799" y="79144"/>
                    </a:cubicBezTo>
                    <a:cubicBezTo>
                      <a:pt x="19162" y="79144"/>
                      <a:pt x="0" y="61427"/>
                      <a:pt x="0" y="39572"/>
                    </a:cubicBezTo>
                    <a:cubicBezTo>
                      <a:pt x="0" y="17717"/>
                      <a:pt x="19162" y="0"/>
                      <a:pt x="42799" y="0"/>
                    </a:cubicBezTo>
                    <a:close/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  <p:grpSp>
          <p:nvGrpSpPr>
            <p:cNvPr id="60" name="Группа 59"/>
            <p:cNvGrpSpPr/>
            <p:nvPr/>
          </p:nvGrpSpPr>
          <p:grpSpPr>
            <a:xfrm>
              <a:off x="20345148" y="2792286"/>
              <a:ext cx="393221" cy="325857"/>
              <a:chOff x="18894316" y="4280900"/>
              <a:chExt cx="393221" cy="325857"/>
            </a:xfrm>
          </p:grpSpPr>
          <p:pic>
            <p:nvPicPr>
              <p:cNvPr id="103" name="Рисунок 102">
                <a:extLst>
                  <a:ext uri="{FF2B5EF4-FFF2-40B4-BE49-F238E27FC236}">
                    <a16:creationId xmlns:a16="http://schemas.microsoft.com/office/drawing/2014/main" xmlns="" id="{C256E583-D480-4C61-A9E7-63F713A2C9B4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9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/>
            </p:blipFill>
            <p:spPr bwMode="auto">
              <a:xfrm>
                <a:off x="19049539" y="4280900"/>
                <a:ext cx="85598" cy="79144"/>
              </a:xfrm>
              <a:custGeom>
                <a:avLst/>
                <a:gdLst>
                  <a:gd name="connsiteX0" fmla="*/ 42799 w 85598"/>
                  <a:gd name="connsiteY0" fmla="*/ 0 h 79144"/>
                  <a:gd name="connsiteX1" fmla="*/ 85598 w 85598"/>
                  <a:gd name="connsiteY1" fmla="*/ 39572 h 79144"/>
                  <a:gd name="connsiteX2" fmla="*/ 42799 w 85598"/>
                  <a:gd name="connsiteY2" fmla="*/ 79144 h 79144"/>
                  <a:gd name="connsiteX3" fmla="*/ 0 w 85598"/>
                  <a:gd name="connsiteY3" fmla="*/ 39572 h 79144"/>
                  <a:gd name="connsiteX4" fmla="*/ 42799 w 85598"/>
                  <a:gd name="connsiteY4" fmla="*/ 0 h 791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5598" h="79144">
                    <a:moveTo>
                      <a:pt x="42799" y="0"/>
                    </a:moveTo>
                    <a:cubicBezTo>
                      <a:pt x="66436" y="0"/>
                      <a:pt x="85598" y="17717"/>
                      <a:pt x="85598" y="39572"/>
                    </a:cubicBezTo>
                    <a:cubicBezTo>
                      <a:pt x="85598" y="61427"/>
                      <a:pt x="66436" y="79144"/>
                      <a:pt x="42799" y="79144"/>
                    </a:cubicBezTo>
                    <a:cubicBezTo>
                      <a:pt x="19162" y="79144"/>
                      <a:pt x="0" y="61427"/>
                      <a:pt x="0" y="39572"/>
                    </a:cubicBezTo>
                    <a:cubicBezTo>
                      <a:pt x="0" y="17717"/>
                      <a:pt x="19162" y="0"/>
                      <a:pt x="42799" y="0"/>
                    </a:cubicBezTo>
                    <a:close/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104" name="Рисунок 103">
                <a:extLst>
                  <a:ext uri="{FF2B5EF4-FFF2-40B4-BE49-F238E27FC236}">
                    <a16:creationId xmlns:a16="http://schemas.microsoft.com/office/drawing/2014/main" xmlns="" id="{C256E583-D480-4C61-A9E7-63F713A2C9B4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9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/>
            </p:blipFill>
            <p:spPr bwMode="auto">
              <a:xfrm>
                <a:off x="19201939" y="4433300"/>
                <a:ext cx="85598" cy="79144"/>
              </a:xfrm>
              <a:custGeom>
                <a:avLst/>
                <a:gdLst>
                  <a:gd name="connsiteX0" fmla="*/ 42799 w 85598"/>
                  <a:gd name="connsiteY0" fmla="*/ 0 h 79144"/>
                  <a:gd name="connsiteX1" fmla="*/ 85598 w 85598"/>
                  <a:gd name="connsiteY1" fmla="*/ 39572 h 79144"/>
                  <a:gd name="connsiteX2" fmla="*/ 42799 w 85598"/>
                  <a:gd name="connsiteY2" fmla="*/ 79144 h 79144"/>
                  <a:gd name="connsiteX3" fmla="*/ 0 w 85598"/>
                  <a:gd name="connsiteY3" fmla="*/ 39572 h 79144"/>
                  <a:gd name="connsiteX4" fmla="*/ 42799 w 85598"/>
                  <a:gd name="connsiteY4" fmla="*/ 0 h 791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5598" h="79144">
                    <a:moveTo>
                      <a:pt x="42799" y="0"/>
                    </a:moveTo>
                    <a:cubicBezTo>
                      <a:pt x="66436" y="0"/>
                      <a:pt x="85598" y="17717"/>
                      <a:pt x="85598" y="39572"/>
                    </a:cubicBezTo>
                    <a:cubicBezTo>
                      <a:pt x="85598" y="61427"/>
                      <a:pt x="66436" y="79144"/>
                      <a:pt x="42799" y="79144"/>
                    </a:cubicBezTo>
                    <a:cubicBezTo>
                      <a:pt x="19162" y="79144"/>
                      <a:pt x="0" y="61427"/>
                      <a:pt x="0" y="39572"/>
                    </a:cubicBezTo>
                    <a:cubicBezTo>
                      <a:pt x="0" y="17717"/>
                      <a:pt x="19162" y="0"/>
                      <a:pt x="42799" y="0"/>
                    </a:cubicBezTo>
                    <a:close/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105" name="Рисунок 104">
                <a:extLst>
                  <a:ext uri="{FF2B5EF4-FFF2-40B4-BE49-F238E27FC236}">
                    <a16:creationId xmlns:a16="http://schemas.microsoft.com/office/drawing/2014/main" xmlns="" id="{C256E583-D480-4C61-A9E7-63F713A2C9B4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9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/>
            </p:blipFill>
            <p:spPr bwMode="auto">
              <a:xfrm>
                <a:off x="18894316" y="4354156"/>
                <a:ext cx="85598" cy="79144"/>
              </a:xfrm>
              <a:custGeom>
                <a:avLst/>
                <a:gdLst>
                  <a:gd name="connsiteX0" fmla="*/ 42799 w 85598"/>
                  <a:gd name="connsiteY0" fmla="*/ 0 h 79144"/>
                  <a:gd name="connsiteX1" fmla="*/ 85598 w 85598"/>
                  <a:gd name="connsiteY1" fmla="*/ 39572 h 79144"/>
                  <a:gd name="connsiteX2" fmla="*/ 42799 w 85598"/>
                  <a:gd name="connsiteY2" fmla="*/ 79144 h 79144"/>
                  <a:gd name="connsiteX3" fmla="*/ 0 w 85598"/>
                  <a:gd name="connsiteY3" fmla="*/ 39572 h 79144"/>
                  <a:gd name="connsiteX4" fmla="*/ 42799 w 85598"/>
                  <a:gd name="connsiteY4" fmla="*/ 0 h 791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5598" h="79144">
                    <a:moveTo>
                      <a:pt x="42799" y="0"/>
                    </a:moveTo>
                    <a:cubicBezTo>
                      <a:pt x="66436" y="0"/>
                      <a:pt x="85598" y="17717"/>
                      <a:pt x="85598" y="39572"/>
                    </a:cubicBezTo>
                    <a:cubicBezTo>
                      <a:pt x="85598" y="61427"/>
                      <a:pt x="66436" y="79144"/>
                      <a:pt x="42799" y="79144"/>
                    </a:cubicBezTo>
                    <a:cubicBezTo>
                      <a:pt x="19162" y="79144"/>
                      <a:pt x="0" y="61427"/>
                      <a:pt x="0" y="39572"/>
                    </a:cubicBezTo>
                    <a:cubicBezTo>
                      <a:pt x="0" y="17717"/>
                      <a:pt x="19162" y="0"/>
                      <a:pt x="42799" y="0"/>
                    </a:cubicBezTo>
                    <a:close/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106" name="Рисунок 105">
                <a:extLst>
                  <a:ext uri="{FF2B5EF4-FFF2-40B4-BE49-F238E27FC236}">
                    <a16:creationId xmlns:a16="http://schemas.microsoft.com/office/drawing/2014/main" xmlns="" id="{C256E583-D480-4C61-A9E7-63F713A2C9B4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9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/>
            </p:blipFill>
            <p:spPr bwMode="auto">
              <a:xfrm>
                <a:off x="19084215" y="4527613"/>
                <a:ext cx="85598" cy="79144"/>
              </a:xfrm>
              <a:custGeom>
                <a:avLst/>
                <a:gdLst>
                  <a:gd name="connsiteX0" fmla="*/ 42799 w 85598"/>
                  <a:gd name="connsiteY0" fmla="*/ 0 h 79144"/>
                  <a:gd name="connsiteX1" fmla="*/ 85598 w 85598"/>
                  <a:gd name="connsiteY1" fmla="*/ 39572 h 79144"/>
                  <a:gd name="connsiteX2" fmla="*/ 42799 w 85598"/>
                  <a:gd name="connsiteY2" fmla="*/ 79144 h 79144"/>
                  <a:gd name="connsiteX3" fmla="*/ 0 w 85598"/>
                  <a:gd name="connsiteY3" fmla="*/ 39572 h 79144"/>
                  <a:gd name="connsiteX4" fmla="*/ 42799 w 85598"/>
                  <a:gd name="connsiteY4" fmla="*/ 0 h 791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5598" h="79144">
                    <a:moveTo>
                      <a:pt x="42799" y="0"/>
                    </a:moveTo>
                    <a:cubicBezTo>
                      <a:pt x="66436" y="0"/>
                      <a:pt x="85598" y="17717"/>
                      <a:pt x="85598" y="39572"/>
                    </a:cubicBezTo>
                    <a:cubicBezTo>
                      <a:pt x="85598" y="61427"/>
                      <a:pt x="66436" y="79144"/>
                      <a:pt x="42799" y="79144"/>
                    </a:cubicBezTo>
                    <a:cubicBezTo>
                      <a:pt x="19162" y="79144"/>
                      <a:pt x="0" y="61427"/>
                      <a:pt x="0" y="39572"/>
                    </a:cubicBezTo>
                    <a:cubicBezTo>
                      <a:pt x="0" y="17717"/>
                      <a:pt x="19162" y="0"/>
                      <a:pt x="42799" y="0"/>
                    </a:cubicBezTo>
                    <a:close/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107" name="Рисунок 106">
                <a:extLst>
                  <a:ext uri="{FF2B5EF4-FFF2-40B4-BE49-F238E27FC236}">
                    <a16:creationId xmlns:a16="http://schemas.microsoft.com/office/drawing/2014/main" xmlns="" id="{C256E583-D480-4C61-A9E7-63F713A2C9B4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9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/>
            </p:blipFill>
            <p:spPr bwMode="auto">
              <a:xfrm>
                <a:off x="18996857" y="4438683"/>
                <a:ext cx="85598" cy="79144"/>
              </a:xfrm>
              <a:custGeom>
                <a:avLst/>
                <a:gdLst>
                  <a:gd name="connsiteX0" fmla="*/ 42799 w 85598"/>
                  <a:gd name="connsiteY0" fmla="*/ 0 h 79144"/>
                  <a:gd name="connsiteX1" fmla="*/ 85598 w 85598"/>
                  <a:gd name="connsiteY1" fmla="*/ 39572 h 79144"/>
                  <a:gd name="connsiteX2" fmla="*/ 42799 w 85598"/>
                  <a:gd name="connsiteY2" fmla="*/ 79144 h 79144"/>
                  <a:gd name="connsiteX3" fmla="*/ 0 w 85598"/>
                  <a:gd name="connsiteY3" fmla="*/ 39572 h 79144"/>
                  <a:gd name="connsiteX4" fmla="*/ 42799 w 85598"/>
                  <a:gd name="connsiteY4" fmla="*/ 0 h 791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5598" h="79144">
                    <a:moveTo>
                      <a:pt x="42799" y="0"/>
                    </a:moveTo>
                    <a:cubicBezTo>
                      <a:pt x="66436" y="0"/>
                      <a:pt x="85598" y="17717"/>
                      <a:pt x="85598" y="39572"/>
                    </a:cubicBezTo>
                    <a:cubicBezTo>
                      <a:pt x="85598" y="61427"/>
                      <a:pt x="66436" y="79144"/>
                      <a:pt x="42799" y="79144"/>
                    </a:cubicBezTo>
                    <a:cubicBezTo>
                      <a:pt x="19162" y="79144"/>
                      <a:pt x="0" y="61427"/>
                      <a:pt x="0" y="39572"/>
                    </a:cubicBezTo>
                    <a:cubicBezTo>
                      <a:pt x="0" y="17717"/>
                      <a:pt x="19162" y="0"/>
                      <a:pt x="42799" y="0"/>
                    </a:cubicBezTo>
                    <a:close/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  <p:grpSp>
          <p:nvGrpSpPr>
            <p:cNvPr id="61" name="Группа 60"/>
            <p:cNvGrpSpPr/>
            <p:nvPr/>
          </p:nvGrpSpPr>
          <p:grpSpPr>
            <a:xfrm>
              <a:off x="20357301" y="3209516"/>
              <a:ext cx="393221" cy="325857"/>
              <a:chOff x="18894316" y="4280900"/>
              <a:chExt cx="393221" cy="325857"/>
            </a:xfrm>
          </p:grpSpPr>
          <p:pic>
            <p:nvPicPr>
              <p:cNvPr id="98" name="Рисунок 97">
                <a:extLst>
                  <a:ext uri="{FF2B5EF4-FFF2-40B4-BE49-F238E27FC236}">
                    <a16:creationId xmlns:a16="http://schemas.microsoft.com/office/drawing/2014/main" xmlns="" id="{C256E583-D480-4C61-A9E7-63F713A2C9B4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9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/>
            </p:blipFill>
            <p:spPr bwMode="auto">
              <a:xfrm>
                <a:off x="19049539" y="4280900"/>
                <a:ext cx="85598" cy="79144"/>
              </a:xfrm>
              <a:custGeom>
                <a:avLst/>
                <a:gdLst>
                  <a:gd name="connsiteX0" fmla="*/ 42799 w 85598"/>
                  <a:gd name="connsiteY0" fmla="*/ 0 h 79144"/>
                  <a:gd name="connsiteX1" fmla="*/ 85598 w 85598"/>
                  <a:gd name="connsiteY1" fmla="*/ 39572 h 79144"/>
                  <a:gd name="connsiteX2" fmla="*/ 42799 w 85598"/>
                  <a:gd name="connsiteY2" fmla="*/ 79144 h 79144"/>
                  <a:gd name="connsiteX3" fmla="*/ 0 w 85598"/>
                  <a:gd name="connsiteY3" fmla="*/ 39572 h 79144"/>
                  <a:gd name="connsiteX4" fmla="*/ 42799 w 85598"/>
                  <a:gd name="connsiteY4" fmla="*/ 0 h 791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5598" h="79144">
                    <a:moveTo>
                      <a:pt x="42799" y="0"/>
                    </a:moveTo>
                    <a:cubicBezTo>
                      <a:pt x="66436" y="0"/>
                      <a:pt x="85598" y="17717"/>
                      <a:pt x="85598" y="39572"/>
                    </a:cubicBezTo>
                    <a:cubicBezTo>
                      <a:pt x="85598" y="61427"/>
                      <a:pt x="66436" y="79144"/>
                      <a:pt x="42799" y="79144"/>
                    </a:cubicBezTo>
                    <a:cubicBezTo>
                      <a:pt x="19162" y="79144"/>
                      <a:pt x="0" y="61427"/>
                      <a:pt x="0" y="39572"/>
                    </a:cubicBezTo>
                    <a:cubicBezTo>
                      <a:pt x="0" y="17717"/>
                      <a:pt x="19162" y="0"/>
                      <a:pt x="42799" y="0"/>
                    </a:cubicBezTo>
                    <a:close/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99" name="Рисунок 98">
                <a:extLst>
                  <a:ext uri="{FF2B5EF4-FFF2-40B4-BE49-F238E27FC236}">
                    <a16:creationId xmlns:a16="http://schemas.microsoft.com/office/drawing/2014/main" xmlns="" id="{C256E583-D480-4C61-A9E7-63F713A2C9B4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9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/>
            </p:blipFill>
            <p:spPr bwMode="auto">
              <a:xfrm>
                <a:off x="19201939" y="4433300"/>
                <a:ext cx="85598" cy="79144"/>
              </a:xfrm>
              <a:custGeom>
                <a:avLst/>
                <a:gdLst>
                  <a:gd name="connsiteX0" fmla="*/ 42799 w 85598"/>
                  <a:gd name="connsiteY0" fmla="*/ 0 h 79144"/>
                  <a:gd name="connsiteX1" fmla="*/ 85598 w 85598"/>
                  <a:gd name="connsiteY1" fmla="*/ 39572 h 79144"/>
                  <a:gd name="connsiteX2" fmla="*/ 42799 w 85598"/>
                  <a:gd name="connsiteY2" fmla="*/ 79144 h 79144"/>
                  <a:gd name="connsiteX3" fmla="*/ 0 w 85598"/>
                  <a:gd name="connsiteY3" fmla="*/ 39572 h 79144"/>
                  <a:gd name="connsiteX4" fmla="*/ 42799 w 85598"/>
                  <a:gd name="connsiteY4" fmla="*/ 0 h 791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5598" h="79144">
                    <a:moveTo>
                      <a:pt x="42799" y="0"/>
                    </a:moveTo>
                    <a:cubicBezTo>
                      <a:pt x="66436" y="0"/>
                      <a:pt x="85598" y="17717"/>
                      <a:pt x="85598" y="39572"/>
                    </a:cubicBezTo>
                    <a:cubicBezTo>
                      <a:pt x="85598" y="61427"/>
                      <a:pt x="66436" y="79144"/>
                      <a:pt x="42799" y="79144"/>
                    </a:cubicBezTo>
                    <a:cubicBezTo>
                      <a:pt x="19162" y="79144"/>
                      <a:pt x="0" y="61427"/>
                      <a:pt x="0" y="39572"/>
                    </a:cubicBezTo>
                    <a:cubicBezTo>
                      <a:pt x="0" y="17717"/>
                      <a:pt x="19162" y="0"/>
                      <a:pt x="42799" y="0"/>
                    </a:cubicBezTo>
                    <a:close/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100" name="Рисунок 99">
                <a:extLst>
                  <a:ext uri="{FF2B5EF4-FFF2-40B4-BE49-F238E27FC236}">
                    <a16:creationId xmlns:a16="http://schemas.microsoft.com/office/drawing/2014/main" xmlns="" id="{C256E583-D480-4C61-A9E7-63F713A2C9B4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9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/>
            </p:blipFill>
            <p:spPr bwMode="auto">
              <a:xfrm>
                <a:off x="18894316" y="4354156"/>
                <a:ext cx="85598" cy="79144"/>
              </a:xfrm>
              <a:custGeom>
                <a:avLst/>
                <a:gdLst>
                  <a:gd name="connsiteX0" fmla="*/ 42799 w 85598"/>
                  <a:gd name="connsiteY0" fmla="*/ 0 h 79144"/>
                  <a:gd name="connsiteX1" fmla="*/ 85598 w 85598"/>
                  <a:gd name="connsiteY1" fmla="*/ 39572 h 79144"/>
                  <a:gd name="connsiteX2" fmla="*/ 42799 w 85598"/>
                  <a:gd name="connsiteY2" fmla="*/ 79144 h 79144"/>
                  <a:gd name="connsiteX3" fmla="*/ 0 w 85598"/>
                  <a:gd name="connsiteY3" fmla="*/ 39572 h 79144"/>
                  <a:gd name="connsiteX4" fmla="*/ 42799 w 85598"/>
                  <a:gd name="connsiteY4" fmla="*/ 0 h 791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5598" h="79144">
                    <a:moveTo>
                      <a:pt x="42799" y="0"/>
                    </a:moveTo>
                    <a:cubicBezTo>
                      <a:pt x="66436" y="0"/>
                      <a:pt x="85598" y="17717"/>
                      <a:pt x="85598" y="39572"/>
                    </a:cubicBezTo>
                    <a:cubicBezTo>
                      <a:pt x="85598" y="61427"/>
                      <a:pt x="66436" y="79144"/>
                      <a:pt x="42799" y="79144"/>
                    </a:cubicBezTo>
                    <a:cubicBezTo>
                      <a:pt x="19162" y="79144"/>
                      <a:pt x="0" y="61427"/>
                      <a:pt x="0" y="39572"/>
                    </a:cubicBezTo>
                    <a:cubicBezTo>
                      <a:pt x="0" y="17717"/>
                      <a:pt x="19162" y="0"/>
                      <a:pt x="42799" y="0"/>
                    </a:cubicBezTo>
                    <a:close/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101" name="Рисунок 100">
                <a:extLst>
                  <a:ext uri="{FF2B5EF4-FFF2-40B4-BE49-F238E27FC236}">
                    <a16:creationId xmlns:a16="http://schemas.microsoft.com/office/drawing/2014/main" xmlns="" id="{C256E583-D480-4C61-A9E7-63F713A2C9B4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9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/>
            </p:blipFill>
            <p:spPr bwMode="auto">
              <a:xfrm>
                <a:off x="19084215" y="4527613"/>
                <a:ext cx="85598" cy="79144"/>
              </a:xfrm>
              <a:custGeom>
                <a:avLst/>
                <a:gdLst>
                  <a:gd name="connsiteX0" fmla="*/ 42799 w 85598"/>
                  <a:gd name="connsiteY0" fmla="*/ 0 h 79144"/>
                  <a:gd name="connsiteX1" fmla="*/ 85598 w 85598"/>
                  <a:gd name="connsiteY1" fmla="*/ 39572 h 79144"/>
                  <a:gd name="connsiteX2" fmla="*/ 42799 w 85598"/>
                  <a:gd name="connsiteY2" fmla="*/ 79144 h 79144"/>
                  <a:gd name="connsiteX3" fmla="*/ 0 w 85598"/>
                  <a:gd name="connsiteY3" fmla="*/ 39572 h 79144"/>
                  <a:gd name="connsiteX4" fmla="*/ 42799 w 85598"/>
                  <a:gd name="connsiteY4" fmla="*/ 0 h 791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5598" h="79144">
                    <a:moveTo>
                      <a:pt x="42799" y="0"/>
                    </a:moveTo>
                    <a:cubicBezTo>
                      <a:pt x="66436" y="0"/>
                      <a:pt x="85598" y="17717"/>
                      <a:pt x="85598" y="39572"/>
                    </a:cubicBezTo>
                    <a:cubicBezTo>
                      <a:pt x="85598" y="61427"/>
                      <a:pt x="66436" y="79144"/>
                      <a:pt x="42799" y="79144"/>
                    </a:cubicBezTo>
                    <a:cubicBezTo>
                      <a:pt x="19162" y="79144"/>
                      <a:pt x="0" y="61427"/>
                      <a:pt x="0" y="39572"/>
                    </a:cubicBezTo>
                    <a:cubicBezTo>
                      <a:pt x="0" y="17717"/>
                      <a:pt x="19162" y="0"/>
                      <a:pt x="42799" y="0"/>
                    </a:cubicBezTo>
                    <a:close/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102" name="Рисунок 101">
                <a:extLst>
                  <a:ext uri="{FF2B5EF4-FFF2-40B4-BE49-F238E27FC236}">
                    <a16:creationId xmlns:a16="http://schemas.microsoft.com/office/drawing/2014/main" xmlns="" id="{C256E583-D480-4C61-A9E7-63F713A2C9B4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9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/>
            </p:blipFill>
            <p:spPr bwMode="auto">
              <a:xfrm>
                <a:off x="18996857" y="4438683"/>
                <a:ext cx="85598" cy="79144"/>
              </a:xfrm>
              <a:custGeom>
                <a:avLst/>
                <a:gdLst>
                  <a:gd name="connsiteX0" fmla="*/ 42799 w 85598"/>
                  <a:gd name="connsiteY0" fmla="*/ 0 h 79144"/>
                  <a:gd name="connsiteX1" fmla="*/ 85598 w 85598"/>
                  <a:gd name="connsiteY1" fmla="*/ 39572 h 79144"/>
                  <a:gd name="connsiteX2" fmla="*/ 42799 w 85598"/>
                  <a:gd name="connsiteY2" fmla="*/ 79144 h 79144"/>
                  <a:gd name="connsiteX3" fmla="*/ 0 w 85598"/>
                  <a:gd name="connsiteY3" fmla="*/ 39572 h 79144"/>
                  <a:gd name="connsiteX4" fmla="*/ 42799 w 85598"/>
                  <a:gd name="connsiteY4" fmla="*/ 0 h 791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5598" h="79144">
                    <a:moveTo>
                      <a:pt x="42799" y="0"/>
                    </a:moveTo>
                    <a:cubicBezTo>
                      <a:pt x="66436" y="0"/>
                      <a:pt x="85598" y="17717"/>
                      <a:pt x="85598" y="39572"/>
                    </a:cubicBezTo>
                    <a:cubicBezTo>
                      <a:pt x="85598" y="61427"/>
                      <a:pt x="66436" y="79144"/>
                      <a:pt x="42799" y="79144"/>
                    </a:cubicBezTo>
                    <a:cubicBezTo>
                      <a:pt x="19162" y="79144"/>
                      <a:pt x="0" y="61427"/>
                      <a:pt x="0" y="39572"/>
                    </a:cubicBezTo>
                    <a:cubicBezTo>
                      <a:pt x="0" y="17717"/>
                      <a:pt x="19162" y="0"/>
                      <a:pt x="42799" y="0"/>
                    </a:cubicBezTo>
                    <a:close/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  <p:grpSp>
          <p:nvGrpSpPr>
            <p:cNvPr id="62" name="Группа 61"/>
            <p:cNvGrpSpPr/>
            <p:nvPr/>
          </p:nvGrpSpPr>
          <p:grpSpPr>
            <a:xfrm>
              <a:off x="20622405" y="2923231"/>
              <a:ext cx="393221" cy="325857"/>
              <a:chOff x="18894316" y="4280900"/>
              <a:chExt cx="393221" cy="325857"/>
            </a:xfrm>
          </p:grpSpPr>
          <p:pic>
            <p:nvPicPr>
              <p:cNvPr id="93" name="Рисунок 92">
                <a:extLst>
                  <a:ext uri="{FF2B5EF4-FFF2-40B4-BE49-F238E27FC236}">
                    <a16:creationId xmlns:a16="http://schemas.microsoft.com/office/drawing/2014/main" xmlns="" id="{C256E583-D480-4C61-A9E7-63F713A2C9B4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9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/>
            </p:blipFill>
            <p:spPr bwMode="auto">
              <a:xfrm>
                <a:off x="19049539" y="4280900"/>
                <a:ext cx="85598" cy="79144"/>
              </a:xfrm>
              <a:custGeom>
                <a:avLst/>
                <a:gdLst>
                  <a:gd name="connsiteX0" fmla="*/ 42799 w 85598"/>
                  <a:gd name="connsiteY0" fmla="*/ 0 h 79144"/>
                  <a:gd name="connsiteX1" fmla="*/ 85598 w 85598"/>
                  <a:gd name="connsiteY1" fmla="*/ 39572 h 79144"/>
                  <a:gd name="connsiteX2" fmla="*/ 42799 w 85598"/>
                  <a:gd name="connsiteY2" fmla="*/ 79144 h 79144"/>
                  <a:gd name="connsiteX3" fmla="*/ 0 w 85598"/>
                  <a:gd name="connsiteY3" fmla="*/ 39572 h 79144"/>
                  <a:gd name="connsiteX4" fmla="*/ 42799 w 85598"/>
                  <a:gd name="connsiteY4" fmla="*/ 0 h 791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5598" h="79144">
                    <a:moveTo>
                      <a:pt x="42799" y="0"/>
                    </a:moveTo>
                    <a:cubicBezTo>
                      <a:pt x="66436" y="0"/>
                      <a:pt x="85598" y="17717"/>
                      <a:pt x="85598" y="39572"/>
                    </a:cubicBezTo>
                    <a:cubicBezTo>
                      <a:pt x="85598" y="61427"/>
                      <a:pt x="66436" y="79144"/>
                      <a:pt x="42799" y="79144"/>
                    </a:cubicBezTo>
                    <a:cubicBezTo>
                      <a:pt x="19162" y="79144"/>
                      <a:pt x="0" y="61427"/>
                      <a:pt x="0" y="39572"/>
                    </a:cubicBezTo>
                    <a:cubicBezTo>
                      <a:pt x="0" y="17717"/>
                      <a:pt x="19162" y="0"/>
                      <a:pt x="42799" y="0"/>
                    </a:cubicBezTo>
                    <a:close/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94" name="Рисунок 93">
                <a:extLst>
                  <a:ext uri="{FF2B5EF4-FFF2-40B4-BE49-F238E27FC236}">
                    <a16:creationId xmlns:a16="http://schemas.microsoft.com/office/drawing/2014/main" xmlns="" id="{C256E583-D480-4C61-A9E7-63F713A2C9B4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9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/>
            </p:blipFill>
            <p:spPr bwMode="auto">
              <a:xfrm>
                <a:off x="19201939" y="4433300"/>
                <a:ext cx="85598" cy="79144"/>
              </a:xfrm>
              <a:custGeom>
                <a:avLst/>
                <a:gdLst>
                  <a:gd name="connsiteX0" fmla="*/ 42799 w 85598"/>
                  <a:gd name="connsiteY0" fmla="*/ 0 h 79144"/>
                  <a:gd name="connsiteX1" fmla="*/ 85598 w 85598"/>
                  <a:gd name="connsiteY1" fmla="*/ 39572 h 79144"/>
                  <a:gd name="connsiteX2" fmla="*/ 42799 w 85598"/>
                  <a:gd name="connsiteY2" fmla="*/ 79144 h 79144"/>
                  <a:gd name="connsiteX3" fmla="*/ 0 w 85598"/>
                  <a:gd name="connsiteY3" fmla="*/ 39572 h 79144"/>
                  <a:gd name="connsiteX4" fmla="*/ 42799 w 85598"/>
                  <a:gd name="connsiteY4" fmla="*/ 0 h 791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5598" h="79144">
                    <a:moveTo>
                      <a:pt x="42799" y="0"/>
                    </a:moveTo>
                    <a:cubicBezTo>
                      <a:pt x="66436" y="0"/>
                      <a:pt x="85598" y="17717"/>
                      <a:pt x="85598" y="39572"/>
                    </a:cubicBezTo>
                    <a:cubicBezTo>
                      <a:pt x="85598" y="61427"/>
                      <a:pt x="66436" y="79144"/>
                      <a:pt x="42799" y="79144"/>
                    </a:cubicBezTo>
                    <a:cubicBezTo>
                      <a:pt x="19162" y="79144"/>
                      <a:pt x="0" y="61427"/>
                      <a:pt x="0" y="39572"/>
                    </a:cubicBezTo>
                    <a:cubicBezTo>
                      <a:pt x="0" y="17717"/>
                      <a:pt x="19162" y="0"/>
                      <a:pt x="42799" y="0"/>
                    </a:cubicBezTo>
                    <a:close/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95" name="Рисунок 94">
                <a:extLst>
                  <a:ext uri="{FF2B5EF4-FFF2-40B4-BE49-F238E27FC236}">
                    <a16:creationId xmlns:a16="http://schemas.microsoft.com/office/drawing/2014/main" xmlns="" id="{C256E583-D480-4C61-A9E7-63F713A2C9B4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9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/>
            </p:blipFill>
            <p:spPr bwMode="auto">
              <a:xfrm>
                <a:off x="18894316" y="4354156"/>
                <a:ext cx="85598" cy="79144"/>
              </a:xfrm>
              <a:custGeom>
                <a:avLst/>
                <a:gdLst>
                  <a:gd name="connsiteX0" fmla="*/ 42799 w 85598"/>
                  <a:gd name="connsiteY0" fmla="*/ 0 h 79144"/>
                  <a:gd name="connsiteX1" fmla="*/ 85598 w 85598"/>
                  <a:gd name="connsiteY1" fmla="*/ 39572 h 79144"/>
                  <a:gd name="connsiteX2" fmla="*/ 42799 w 85598"/>
                  <a:gd name="connsiteY2" fmla="*/ 79144 h 79144"/>
                  <a:gd name="connsiteX3" fmla="*/ 0 w 85598"/>
                  <a:gd name="connsiteY3" fmla="*/ 39572 h 79144"/>
                  <a:gd name="connsiteX4" fmla="*/ 42799 w 85598"/>
                  <a:gd name="connsiteY4" fmla="*/ 0 h 791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5598" h="79144">
                    <a:moveTo>
                      <a:pt x="42799" y="0"/>
                    </a:moveTo>
                    <a:cubicBezTo>
                      <a:pt x="66436" y="0"/>
                      <a:pt x="85598" y="17717"/>
                      <a:pt x="85598" y="39572"/>
                    </a:cubicBezTo>
                    <a:cubicBezTo>
                      <a:pt x="85598" y="61427"/>
                      <a:pt x="66436" y="79144"/>
                      <a:pt x="42799" y="79144"/>
                    </a:cubicBezTo>
                    <a:cubicBezTo>
                      <a:pt x="19162" y="79144"/>
                      <a:pt x="0" y="61427"/>
                      <a:pt x="0" y="39572"/>
                    </a:cubicBezTo>
                    <a:cubicBezTo>
                      <a:pt x="0" y="17717"/>
                      <a:pt x="19162" y="0"/>
                      <a:pt x="42799" y="0"/>
                    </a:cubicBezTo>
                    <a:close/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96" name="Рисунок 95">
                <a:extLst>
                  <a:ext uri="{FF2B5EF4-FFF2-40B4-BE49-F238E27FC236}">
                    <a16:creationId xmlns:a16="http://schemas.microsoft.com/office/drawing/2014/main" xmlns="" id="{C256E583-D480-4C61-A9E7-63F713A2C9B4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9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/>
            </p:blipFill>
            <p:spPr bwMode="auto">
              <a:xfrm>
                <a:off x="19084215" y="4527613"/>
                <a:ext cx="85598" cy="79144"/>
              </a:xfrm>
              <a:custGeom>
                <a:avLst/>
                <a:gdLst>
                  <a:gd name="connsiteX0" fmla="*/ 42799 w 85598"/>
                  <a:gd name="connsiteY0" fmla="*/ 0 h 79144"/>
                  <a:gd name="connsiteX1" fmla="*/ 85598 w 85598"/>
                  <a:gd name="connsiteY1" fmla="*/ 39572 h 79144"/>
                  <a:gd name="connsiteX2" fmla="*/ 42799 w 85598"/>
                  <a:gd name="connsiteY2" fmla="*/ 79144 h 79144"/>
                  <a:gd name="connsiteX3" fmla="*/ 0 w 85598"/>
                  <a:gd name="connsiteY3" fmla="*/ 39572 h 79144"/>
                  <a:gd name="connsiteX4" fmla="*/ 42799 w 85598"/>
                  <a:gd name="connsiteY4" fmla="*/ 0 h 791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5598" h="79144">
                    <a:moveTo>
                      <a:pt x="42799" y="0"/>
                    </a:moveTo>
                    <a:cubicBezTo>
                      <a:pt x="66436" y="0"/>
                      <a:pt x="85598" y="17717"/>
                      <a:pt x="85598" y="39572"/>
                    </a:cubicBezTo>
                    <a:cubicBezTo>
                      <a:pt x="85598" y="61427"/>
                      <a:pt x="66436" y="79144"/>
                      <a:pt x="42799" y="79144"/>
                    </a:cubicBezTo>
                    <a:cubicBezTo>
                      <a:pt x="19162" y="79144"/>
                      <a:pt x="0" y="61427"/>
                      <a:pt x="0" y="39572"/>
                    </a:cubicBezTo>
                    <a:cubicBezTo>
                      <a:pt x="0" y="17717"/>
                      <a:pt x="19162" y="0"/>
                      <a:pt x="42799" y="0"/>
                    </a:cubicBezTo>
                    <a:close/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97" name="Рисунок 96">
                <a:extLst>
                  <a:ext uri="{FF2B5EF4-FFF2-40B4-BE49-F238E27FC236}">
                    <a16:creationId xmlns:a16="http://schemas.microsoft.com/office/drawing/2014/main" xmlns="" id="{C256E583-D480-4C61-A9E7-63F713A2C9B4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9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/>
            </p:blipFill>
            <p:spPr bwMode="auto">
              <a:xfrm>
                <a:off x="18996857" y="4438683"/>
                <a:ext cx="85598" cy="79144"/>
              </a:xfrm>
              <a:custGeom>
                <a:avLst/>
                <a:gdLst>
                  <a:gd name="connsiteX0" fmla="*/ 42799 w 85598"/>
                  <a:gd name="connsiteY0" fmla="*/ 0 h 79144"/>
                  <a:gd name="connsiteX1" fmla="*/ 85598 w 85598"/>
                  <a:gd name="connsiteY1" fmla="*/ 39572 h 79144"/>
                  <a:gd name="connsiteX2" fmla="*/ 42799 w 85598"/>
                  <a:gd name="connsiteY2" fmla="*/ 79144 h 79144"/>
                  <a:gd name="connsiteX3" fmla="*/ 0 w 85598"/>
                  <a:gd name="connsiteY3" fmla="*/ 39572 h 79144"/>
                  <a:gd name="connsiteX4" fmla="*/ 42799 w 85598"/>
                  <a:gd name="connsiteY4" fmla="*/ 0 h 791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5598" h="79144">
                    <a:moveTo>
                      <a:pt x="42799" y="0"/>
                    </a:moveTo>
                    <a:cubicBezTo>
                      <a:pt x="66436" y="0"/>
                      <a:pt x="85598" y="17717"/>
                      <a:pt x="85598" y="39572"/>
                    </a:cubicBezTo>
                    <a:cubicBezTo>
                      <a:pt x="85598" y="61427"/>
                      <a:pt x="66436" y="79144"/>
                      <a:pt x="42799" y="79144"/>
                    </a:cubicBezTo>
                    <a:cubicBezTo>
                      <a:pt x="19162" y="79144"/>
                      <a:pt x="0" y="61427"/>
                      <a:pt x="0" y="39572"/>
                    </a:cubicBezTo>
                    <a:cubicBezTo>
                      <a:pt x="0" y="17717"/>
                      <a:pt x="19162" y="0"/>
                      <a:pt x="42799" y="0"/>
                    </a:cubicBezTo>
                    <a:close/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  <p:grpSp>
          <p:nvGrpSpPr>
            <p:cNvPr id="63" name="Группа 62"/>
            <p:cNvGrpSpPr/>
            <p:nvPr/>
          </p:nvGrpSpPr>
          <p:grpSpPr>
            <a:xfrm>
              <a:off x="21831268" y="3401488"/>
              <a:ext cx="393221" cy="325857"/>
              <a:chOff x="18894316" y="4280900"/>
              <a:chExt cx="393221" cy="325857"/>
            </a:xfrm>
          </p:grpSpPr>
          <p:pic>
            <p:nvPicPr>
              <p:cNvPr id="88" name="Рисунок 87">
                <a:extLst>
                  <a:ext uri="{FF2B5EF4-FFF2-40B4-BE49-F238E27FC236}">
                    <a16:creationId xmlns:a16="http://schemas.microsoft.com/office/drawing/2014/main" xmlns="" id="{C256E583-D480-4C61-A9E7-63F713A2C9B4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9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/>
            </p:blipFill>
            <p:spPr bwMode="auto">
              <a:xfrm>
                <a:off x="19049539" y="4280900"/>
                <a:ext cx="85598" cy="79144"/>
              </a:xfrm>
              <a:custGeom>
                <a:avLst/>
                <a:gdLst>
                  <a:gd name="connsiteX0" fmla="*/ 42799 w 85598"/>
                  <a:gd name="connsiteY0" fmla="*/ 0 h 79144"/>
                  <a:gd name="connsiteX1" fmla="*/ 85598 w 85598"/>
                  <a:gd name="connsiteY1" fmla="*/ 39572 h 79144"/>
                  <a:gd name="connsiteX2" fmla="*/ 42799 w 85598"/>
                  <a:gd name="connsiteY2" fmla="*/ 79144 h 79144"/>
                  <a:gd name="connsiteX3" fmla="*/ 0 w 85598"/>
                  <a:gd name="connsiteY3" fmla="*/ 39572 h 79144"/>
                  <a:gd name="connsiteX4" fmla="*/ 42799 w 85598"/>
                  <a:gd name="connsiteY4" fmla="*/ 0 h 791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5598" h="79144">
                    <a:moveTo>
                      <a:pt x="42799" y="0"/>
                    </a:moveTo>
                    <a:cubicBezTo>
                      <a:pt x="66436" y="0"/>
                      <a:pt x="85598" y="17717"/>
                      <a:pt x="85598" y="39572"/>
                    </a:cubicBezTo>
                    <a:cubicBezTo>
                      <a:pt x="85598" y="61427"/>
                      <a:pt x="66436" y="79144"/>
                      <a:pt x="42799" y="79144"/>
                    </a:cubicBezTo>
                    <a:cubicBezTo>
                      <a:pt x="19162" y="79144"/>
                      <a:pt x="0" y="61427"/>
                      <a:pt x="0" y="39572"/>
                    </a:cubicBezTo>
                    <a:cubicBezTo>
                      <a:pt x="0" y="17717"/>
                      <a:pt x="19162" y="0"/>
                      <a:pt x="42799" y="0"/>
                    </a:cubicBezTo>
                    <a:close/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89" name="Рисунок 88">
                <a:extLst>
                  <a:ext uri="{FF2B5EF4-FFF2-40B4-BE49-F238E27FC236}">
                    <a16:creationId xmlns:a16="http://schemas.microsoft.com/office/drawing/2014/main" xmlns="" id="{C256E583-D480-4C61-A9E7-63F713A2C9B4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9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/>
            </p:blipFill>
            <p:spPr bwMode="auto">
              <a:xfrm>
                <a:off x="19201939" y="4433300"/>
                <a:ext cx="85598" cy="79144"/>
              </a:xfrm>
              <a:custGeom>
                <a:avLst/>
                <a:gdLst>
                  <a:gd name="connsiteX0" fmla="*/ 42799 w 85598"/>
                  <a:gd name="connsiteY0" fmla="*/ 0 h 79144"/>
                  <a:gd name="connsiteX1" fmla="*/ 85598 w 85598"/>
                  <a:gd name="connsiteY1" fmla="*/ 39572 h 79144"/>
                  <a:gd name="connsiteX2" fmla="*/ 42799 w 85598"/>
                  <a:gd name="connsiteY2" fmla="*/ 79144 h 79144"/>
                  <a:gd name="connsiteX3" fmla="*/ 0 w 85598"/>
                  <a:gd name="connsiteY3" fmla="*/ 39572 h 79144"/>
                  <a:gd name="connsiteX4" fmla="*/ 42799 w 85598"/>
                  <a:gd name="connsiteY4" fmla="*/ 0 h 791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5598" h="79144">
                    <a:moveTo>
                      <a:pt x="42799" y="0"/>
                    </a:moveTo>
                    <a:cubicBezTo>
                      <a:pt x="66436" y="0"/>
                      <a:pt x="85598" y="17717"/>
                      <a:pt x="85598" y="39572"/>
                    </a:cubicBezTo>
                    <a:cubicBezTo>
                      <a:pt x="85598" y="61427"/>
                      <a:pt x="66436" y="79144"/>
                      <a:pt x="42799" y="79144"/>
                    </a:cubicBezTo>
                    <a:cubicBezTo>
                      <a:pt x="19162" y="79144"/>
                      <a:pt x="0" y="61427"/>
                      <a:pt x="0" y="39572"/>
                    </a:cubicBezTo>
                    <a:cubicBezTo>
                      <a:pt x="0" y="17717"/>
                      <a:pt x="19162" y="0"/>
                      <a:pt x="42799" y="0"/>
                    </a:cubicBezTo>
                    <a:close/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90" name="Рисунок 89">
                <a:extLst>
                  <a:ext uri="{FF2B5EF4-FFF2-40B4-BE49-F238E27FC236}">
                    <a16:creationId xmlns:a16="http://schemas.microsoft.com/office/drawing/2014/main" xmlns="" id="{C256E583-D480-4C61-A9E7-63F713A2C9B4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9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/>
            </p:blipFill>
            <p:spPr bwMode="auto">
              <a:xfrm>
                <a:off x="18894316" y="4354156"/>
                <a:ext cx="85598" cy="79144"/>
              </a:xfrm>
              <a:custGeom>
                <a:avLst/>
                <a:gdLst>
                  <a:gd name="connsiteX0" fmla="*/ 42799 w 85598"/>
                  <a:gd name="connsiteY0" fmla="*/ 0 h 79144"/>
                  <a:gd name="connsiteX1" fmla="*/ 85598 w 85598"/>
                  <a:gd name="connsiteY1" fmla="*/ 39572 h 79144"/>
                  <a:gd name="connsiteX2" fmla="*/ 42799 w 85598"/>
                  <a:gd name="connsiteY2" fmla="*/ 79144 h 79144"/>
                  <a:gd name="connsiteX3" fmla="*/ 0 w 85598"/>
                  <a:gd name="connsiteY3" fmla="*/ 39572 h 79144"/>
                  <a:gd name="connsiteX4" fmla="*/ 42799 w 85598"/>
                  <a:gd name="connsiteY4" fmla="*/ 0 h 791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5598" h="79144">
                    <a:moveTo>
                      <a:pt x="42799" y="0"/>
                    </a:moveTo>
                    <a:cubicBezTo>
                      <a:pt x="66436" y="0"/>
                      <a:pt x="85598" y="17717"/>
                      <a:pt x="85598" y="39572"/>
                    </a:cubicBezTo>
                    <a:cubicBezTo>
                      <a:pt x="85598" y="61427"/>
                      <a:pt x="66436" y="79144"/>
                      <a:pt x="42799" y="79144"/>
                    </a:cubicBezTo>
                    <a:cubicBezTo>
                      <a:pt x="19162" y="79144"/>
                      <a:pt x="0" y="61427"/>
                      <a:pt x="0" y="39572"/>
                    </a:cubicBezTo>
                    <a:cubicBezTo>
                      <a:pt x="0" y="17717"/>
                      <a:pt x="19162" y="0"/>
                      <a:pt x="42799" y="0"/>
                    </a:cubicBezTo>
                    <a:close/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91" name="Рисунок 90">
                <a:extLst>
                  <a:ext uri="{FF2B5EF4-FFF2-40B4-BE49-F238E27FC236}">
                    <a16:creationId xmlns:a16="http://schemas.microsoft.com/office/drawing/2014/main" xmlns="" id="{C256E583-D480-4C61-A9E7-63F713A2C9B4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9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/>
            </p:blipFill>
            <p:spPr bwMode="auto">
              <a:xfrm>
                <a:off x="19084215" y="4527613"/>
                <a:ext cx="85598" cy="79144"/>
              </a:xfrm>
              <a:custGeom>
                <a:avLst/>
                <a:gdLst>
                  <a:gd name="connsiteX0" fmla="*/ 42799 w 85598"/>
                  <a:gd name="connsiteY0" fmla="*/ 0 h 79144"/>
                  <a:gd name="connsiteX1" fmla="*/ 85598 w 85598"/>
                  <a:gd name="connsiteY1" fmla="*/ 39572 h 79144"/>
                  <a:gd name="connsiteX2" fmla="*/ 42799 w 85598"/>
                  <a:gd name="connsiteY2" fmla="*/ 79144 h 79144"/>
                  <a:gd name="connsiteX3" fmla="*/ 0 w 85598"/>
                  <a:gd name="connsiteY3" fmla="*/ 39572 h 79144"/>
                  <a:gd name="connsiteX4" fmla="*/ 42799 w 85598"/>
                  <a:gd name="connsiteY4" fmla="*/ 0 h 791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5598" h="79144">
                    <a:moveTo>
                      <a:pt x="42799" y="0"/>
                    </a:moveTo>
                    <a:cubicBezTo>
                      <a:pt x="66436" y="0"/>
                      <a:pt x="85598" y="17717"/>
                      <a:pt x="85598" y="39572"/>
                    </a:cubicBezTo>
                    <a:cubicBezTo>
                      <a:pt x="85598" y="61427"/>
                      <a:pt x="66436" y="79144"/>
                      <a:pt x="42799" y="79144"/>
                    </a:cubicBezTo>
                    <a:cubicBezTo>
                      <a:pt x="19162" y="79144"/>
                      <a:pt x="0" y="61427"/>
                      <a:pt x="0" y="39572"/>
                    </a:cubicBezTo>
                    <a:cubicBezTo>
                      <a:pt x="0" y="17717"/>
                      <a:pt x="19162" y="0"/>
                      <a:pt x="42799" y="0"/>
                    </a:cubicBezTo>
                    <a:close/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92" name="Рисунок 91">
                <a:extLst>
                  <a:ext uri="{FF2B5EF4-FFF2-40B4-BE49-F238E27FC236}">
                    <a16:creationId xmlns:a16="http://schemas.microsoft.com/office/drawing/2014/main" xmlns="" id="{C256E583-D480-4C61-A9E7-63F713A2C9B4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9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/>
            </p:blipFill>
            <p:spPr bwMode="auto">
              <a:xfrm>
                <a:off x="18996857" y="4438683"/>
                <a:ext cx="85598" cy="79144"/>
              </a:xfrm>
              <a:custGeom>
                <a:avLst/>
                <a:gdLst>
                  <a:gd name="connsiteX0" fmla="*/ 42799 w 85598"/>
                  <a:gd name="connsiteY0" fmla="*/ 0 h 79144"/>
                  <a:gd name="connsiteX1" fmla="*/ 85598 w 85598"/>
                  <a:gd name="connsiteY1" fmla="*/ 39572 h 79144"/>
                  <a:gd name="connsiteX2" fmla="*/ 42799 w 85598"/>
                  <a:gd name="connsiteY2" fmla="*/ 79144 h 79144"/>
                  <a:gd name="connsiteX3" fmla="*/ 0 w 85598"/>
                  <a:gd name="connsiteY3" fmla="*/ 39572 h 79144"/>
                  <a:gd name="connsiteX4" fmla="*/ 42799 w 85598"/>
                  <a:gd name="connsiteY4" fmla="*/ 0 h 791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5598" h="79144">
                    <a:moveTo>
                      <a:pt x="42799" y="0"/>
                    </a:moveTo>
                    <a:cubicBezTo>
                      <a:pt x="66436" y="0"/>
                      <a:pt x="85598" y="17717"/>
                      <a:pt x="85598" y="39572"/>
                    </a:cubicBezTo>
                    <a:cubicBezTo>
                      <a:pt x="85598" y="61427"/>
                      <a:pt x="66436" y="79144"/>
                      <a:pt x="42799" y="79144"/>
                    </a:cubicBezTo>
                    <a:cubicBezTo>
                      <a:pt x="19162" y="79144"/>
                      <a:pt x="0" y="61427"/>
                      <a:pt x="0" y="39572"/>
                    </a:cubicBezTo>
                    <a:cubicBezTo>
                      <a:pt x="0" y="17717"/>
                      <a:pt x="19162" y="0"/>
                      <a:pt x="42799" y="0"/>
                    </a:cubicBezTo>
                    <a:close/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  <p:grpSp>
          <p:nvGrpSpPr>
            <p:cNvPr id="64" name="Группа 63"/>
            <p:cNvGrpSpPr/>
            <p:nvPr/>
          </p:nvGrpSpPr>
          <p:grpSpPr>
            <a:xfrm>
              <a:off x="22074093" y="3178080"/>
              <a:ext cx="393221" cy="325857"/>
              <a:chOff x="18894316" y="4280900"/>
              <a:chExt cx="393221" cy="325857"/>
            </a:xfrm>
          </p:grpSpPr>
          <p:pic>
            <p:nvPicPr>
              <p:cNvPr id="83" name="Рисунок 82">
                <a:extLst>
                  <a:ext uri="{FF2B5EF4-FFF2-40B4-BE49-F238E27FC236}">
                    <a16:creationId xmlns:a16="http://schemas.microsoft.com/office/drawing/2014/main" xmlns="" id="{C256E583-D480-4C61-A9E7-63F713A2C9B4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9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/>
            </p:blipFill>
            <p:spPr bwMode="auto">
              <a:xfrm>
                <a:off x="19049539" y="4280900"/>
                <a:ext cx="85598" cy="79144"/>
              </a:xfrm>
              <a:custGeom>
                <a:avLst/>
                <a:gdLst>
                  <a:gd name="connsiteX0" fmla="*/ 42799 w 85598"/>
                  <a:gd name="connsiteY0" fmla="*/ 0 h 79144"/>
                  <a:gd name="connsiteX1" fmla="*/ 85598 w 85598"/>
                  <a:gd name="connsiteY1" fmla="*/ 39572 h 79144"/>
                  <a:gd name="connsiteX2" fmla="*/ 42799 w 85598"/>
                  <a:gd name="connsiteY2" fmla="*/ 79144 h 79144"/>
                  <a:gd name="connsiteX3" fmla="*/ 0 w 85598"/>
                  <a:gd name="connsiteY3" fmla="*/ 39572 h 79144"/>
                  <a:gd name="connsiteX4" fmla="*/ 42799 w 85598"/>
                  <a:gd name="connsiteY4" fmla="*/ 0 h 791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5598" h="79144">
                    <a:moveTo>
                      <a:pt x="42799" y="0"/>
                    </a:moveTo>
                    <a:cubicBezTo>
                      <a:pt x="66436" y="0"/>
                      <a:pt x="85598" y="17717"/>
                      <a:pt x="85598" y="39572"/>
                    </a:cubicBezTo>
                    <a:cubicBezTo>
                      <a:pt x="85598" y="61427"/>
                      <a:pt x="66436" y="79144"/>
                      <a:pt x="42799" y="79144"/>
                    </a:cubicBezTo>
                    <a:cubicBezTo>
                      <a:pt x="19162" y="79144"/>
                      <a:pt x="0" y="61427"/>
                      <a:pt x="0" y="39572"/>
                    </a:cubicBezTo>
                    <a:cubicBezTo>
                      <a:pt x="0" y="17717"/>
                      <a:pt x="19162" y="0"/>
                      <a:pt x="42799" y="0"/>
                    </a:cubicBezTo>
                    <a:close/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84" name="Рисунок 83">
                <a:extLst>
                  <a:ext uri="{FF2B5EF4-FFF2-40B4-BE49-F238E27FC236}">
                    <a16:creationId xmlns:a16="http://schemas.microsoft.com/office/drawing/2014/main" xmlns="" id="{C256E583-D480-4C61-A9E7-63F713A2C9B4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9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/>
            </p:blipFill>
            <p:spPr bwMode="auto">
              <a:xfrm>
                <a:off x="19201939" y="4433300"/>
                <a:ext cx="85598" cy="79144"/>
              </a:xfrm>
              <a:custGeom>
                <a:avLst/>
                <a:gdLst>
                  <a:gd name="connsiteX0" fmla="*/ 42799 w 85598"/>
                  <a:gd name="connsiteY0" fmla="*/ 0 h 79144"/>
                  <a:gd name="connsiteX1" fmla="*/ 85598 w 85598"/>
                  <a:gd name="connsiteY1" fmla="*/ 39572 h 79144"/>
                  <a:gd name="connsiteX2" fmla="*/ 42799 w 85598"/>
                  <a:gd name="connsiteY2" fmla="*/ 79144 h 79144"/>
                  <a:gd name="connsiteX3" fmla="*/ 0 w 85598"/>
                  <a:gd name="connsiteY3" fmla="*/ 39572 h 79144"/>
                  <a:gd name="connsiteX4" fmla="*/ 42799 w 85598"/>
                  <a:gd name="connsiteY4" fmla="*/ 0 h 791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5598" h="79144">
                    <a:moveTo>
                      <a:pt x="42799" y="0"/>
                    </a:moveTo>
                    <a:cubicBezTo>
                      <a:pt x="66436" y="0"/>
                      <a:pt x="85598" y="17717"/>
                      <a:pt x="85598" y="39572"/>
                    </a:cubicBezTo>
                    <a:cubicBezTo>
                      <a:pt x="85598" y="61427"/>
                      <a:pt x="66436" y="79144"/>
                      <a:pt x="42799" y="79144"/>
                    </a:cubicBezTo>
                    <a:cubicBezTo>
                      <a:pt x="19162" y="79144"/>
                      <a:pt x="0" y="61427"/>
                      <a:pt x="0" y="39572"/>
                    </a:cubicBezTo>
                    <a:cubicBezTo>
                      <a:pt x="0" y="17717"/>
                      <a:pt x="19162" y="0"/>
                      <a:pt x="42799" y="0"/>
                    </a:cubicBezTo>
                    <a:close/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85" name="Рисунок 84">
                <a:extLst>
                  <a:ext uri="{FF2B5EF4-FFF2-40B4-BE49-F238E27FC236}">
                    <a16:creationId xmlns:a16="http://schemas.microsoft.com/office/drawing/2014/main" xmlns="" id="{C256E583-D480-4C61-A9E7-63F713A2C9B4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9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/>
            </p:blipFill>
            <p:spPr bwMode="auto">
              <a:xfrm>
                <a:off x="18894316" y="4354156"/>
                <a:ext cx="85598" cy="79144"/>
              </a:xfrm>
              <a:custGeom>
                <a:avLst/>
                <a:gdLst>
                  <a:gd name="connsiteX0" fmla="*/ 42799 w 85598"/>
                  <a:gd name="connsiteY0" fmla="*/ 0 h 79144"/>
                  <a:gd name="connsiteX1" fmla="*/ 85598 w 85598"/>
                  <a:gd name="connsiteY1" fmla="*/ 39572 h 79144"/>
                  <a:gd name="connsiteX2" fmla="*/ 42799 w 85598"/>
                  <a:gd name="connsiteY2" fmla="*/ 79144 h 79144"/>
                  <a:gd name="connsiteX3" fmla="*/ 0 w 85598"/>
                  <a:gd name="connsiteY3" fmla="*/ 39572 h 79144"/>
                  <a:gd name="connsiteX4" fmla="*/ 42799 w 85598"/>
                  <a:gd name="connsiteY4" fmla="*/ 0 h 791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5598" h="79144">
                    <a:moveTo>
                      <a:pt x="42799" y="0"/>
                    </a:moveTo>
                    <a:cubicBezTo>
                      <a:pt x="66436" y="0"/>
                      <a:pt x="85598" y="17717"/>
                      <a:pt x="85598" y="39572"/>
                    </a:cubicBezTo>
                    <a:cubicBezTo>
                      <a:pt x="85598" y="61427"/>
                      <a:pt x="66436" y="79144"/>
                      <a:pt x="42799" y="79144"/>
                    </a:cubicBezTo>
                    <a:cubicBezTo>
                      <a:pt x="19162" y="79144"/>
                      <a:pt x="0" y="61427"/>
                      <a:pt x="0" y="39572"/>
                    </a:cubicBezTo>
                    <a:cubicBezTo>
                      <a:pt x="0" y="17717"/>
                      <a:pt x="19162" y="0"/>
                      <a:pt x="42799" y="0"/>
                    </a:cubicBezTo>
                    <a:close/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86" name="Рисунок 85">
                <a:extLst>
                  <a:ext uri="{FF2B5EF4-FFF2-40B4-BE49-F238E27FC236}">
                    <a16:creationId xmlns:a16="http://schemas.microsoft.com/office/drawing/2014/main" xmlns="" id="{C256E583-D480-4C61-A9E7-63F713A2C9B4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9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/>
            </p:blipFill>
            <p:spPr bwMode="auto">
              <a:xfrm>
                <a:off x="19084215" y="4527613"/>
                <a:ext cx="85598" cy="79144"/>
              </a:xfrm>
              <a:custGeom>
                <a:avLst/>
                <a:gdLst>
                  <a:gd name="connsiteX0" fmla="*/ 42799 w 85598"/>
                  <a:gd name="connsiteY0" fmla="*/ 0 h 79144"/>
                  <a:gd name="connsiteX1" fmla="*/ 85598 w 85598"/>
                  <a:gd name="connsiteY1" fmla="*/ 39572 h 79144"/>
                  <a:gd name="connsiteX2" fmla="*/ 42799 w 85598"/>
                  <a:gd name="connsiteY2" fmla="*/ 79144 h 79144"/>
                  <a:gd name="connsiteX3" fmla="*/ 0 w 85598"/>
                  <a:gd name="connsiteY3" fmla="*/ 39572 h 79144"/>
                  <a:gd name="connsiteX4" fmla="*/ 42799 w 85598"/>
                  <a:gd name="connsiteY4" fmla="*/ 0 h 791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5598" h="79144">
                    <a:moveTo>
                      <a:pt x="42799" y="0"/>
                    </a:moveTo>
                    <a:cubicBezTo>
                      <a:pt x="66436" y="0"/>
                      <a:pt x="85598" y="17717"/>
                      <a:pt x="85598" y="39572"/>
                    </a:cubicBezTo>
                    <a:cubicBezTo>
                      <a:pt x="85598" y="61427"/>
                      <a:pt x="66436" y="79144"/>
                      <a:pt x="42799" y="79144"/>
                    </a:cubicBezTo>
                    <a:cubicBezTo>
                      <a:pt x="19162" y="79144"/>
                      <a:pt x="0" y="61427"/>
                      <a:pt x="0" y="39572"/>
                    </a:cubicBezTo>
                    <a:cubicBezTo>
                      <a:pt x="0" y="17717"/>
                      <a:pt x="19162" y="0"/>
                      <a:pt x="42799" y="0"/>
                    </a:cubicBezTo>
                    <a:close/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87" name="Рисунок 86">
                <a:extLst>
                  <a:ext uri="{FF2B5EF4-FFF2-40B4-BE49-F238E27FC236}">
                    <a16:creationId xmlns:a16="http://schemas.microsoft.com/office/drawing/2014/main" xmlns="" id="{C256E583-D480-4C61-A9E7-63F713A2C9B4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9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/>
            </p:blipFill>
            <p:spPr bwMode="auto">
              <a:xfrm>
                <a:off x="18996857" y="4438683"/>
                <a:ext cx="85598" cy="79144"/>
              </a:xfrm>
              <a:custGeom>
                <a:avLst/>
                <a:gdLst>
                  <a:gd name="connsiteX0" fmla="*/ 42799 w 85598"/>
                  <a:gd name="connsiteY0" fmla="*/ 0 h 79144"/>
                  <a:gd name="connsiteX1" fmla="*/ 85598 w 85598"/>
                  <a:gd name="connsiteY1" fmla="*/ 39572 h 79144"/>
                  <a:gd name="connsiteX2" fmla="*/ 42799 w 85598"/>
                  <a:gd name="connsiteY2" fmla="*/ 79144 h 79144"/>
                  <a:gd name="connsiteX3" fmla="*/ 0 w 85598"/>
                  <a:gd name="connsiteY3" fmla="*/ 39572 h 79144"/>
                  <a:gd name="connsiteX4" fmla="*/ 42799 w 85598"/>
                  <a:gd name="connsiteY4" fmla="*/ 0 h 791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5598" h="79144">
                    <a:moveTo>
                      <a:pt x="42799" y="0"/>
                    </a:moveTo>
                    <a:cubicBezTo>
                      <a:pt x="66436" y="0"/>
                      <a:pt x="85598" y="17717"/>
                      <a:pt x="85598" y="39572"/>
                    </a:cubicBezTo>
                    <a:cubicBezTo>
                      <a:pt x="85598" y="61427"/>
                      <a:pt x="66436" y="79144"/>
                      <a:pt x="42799" y="79144"/>
                    </a:cubicBezTo>
                    <a:cubicBezTo>
                      <a:pt x="19162" y="79144"/>
                      <a:pt x="0" y="61427"/>
                      <a:pt x="0" y="39572"/>
                    </a:cubicBezTo>
                    <a:cubicBezTo>
                      <a:pt x="0" y="17717"/>
                      <a:pt x="19162" y="0"/>
                      <a:pt x="42799" y="0"/>
                    </a:cubicBezTo>
                    <a:close/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  <p:grpSp>
          <p:nvGrpSpPr>
            <p:cNvPr id="65" name="Группа 64"/>
            <p:cNvGrpSpPr/>
            <p:nvPr/>
          </p:nvGrpSpPr>
          <p:grpSpPr>
            <a:xfrm>
              <a:off x="22856698" y="2223988"/>
              <a:ext cx="393221" cy="325857"/>
              <a:chOff x="18894316" y="4280900"/>
              <a:chExt cx="393221" cy="325857"/>
            </a:xfrm>
          </p:grpSpPr>
          <p:pic>
            <p:nvPicPr>
              <p:cNvPr id="78" name="Рисунок 77">
                <a:extLst>
                  <a:ext uri="{FF2B5EF4-FFF2-40B4-BE49-F238E27FC236}">
                    <a16:creationId xmlns:a16="http://schemas.microsoft.com/office/drawing/2014/main" xmlns="" id="{C256E583-D480-4C61-A9E7-63F713A2C9B4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9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/>
            </p:blipFill>
            <p:spPr bwMode="auto">
              <a:xfrm>
                <a:off x="19049539" y="4280900"/>
                <a:ext cx="85598" cy="79144"/>
              </a:xfrm>
              <a:custGeom>
                <a:avLst/>
                <a:gdLst>
                  <a:gd name="connsiteX0" fmla="*/ 42799 w 85598"/>
                  <a:gd name="connsiteY0" fmla="*/ 0 h 79144"/>
                  <a:gd name="connsiteX1" fmla="*/ 85598 w 85598"/>
                  <a:gd name="connsiteY1" fmla="*/ 39572 h 79144"/>
                  <a:gd name="connsiteX2" fmla="*/ 42799 w 85598"/>
                  <a:gd name="connsiteY2" fmla="*/ 79144 h 79144"/>
                  <a:gd name="connsiteX3" fmla="*/ 0 w 85598"/>
                  <a:gd name="connsiteY3" fmla="*/ 39572 h 79144"/>
                  <a:gd name="connsiteX4" fmla="*/ 42799 w 85598"/>
                  <a:gd name="connsiteY4" fmla="*/ 0 h 791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5598" h="79144">
                    <a:moveTo>
                      <a:pt x="42799" y="0"/>
                    </a:moveTo>
                    <a:cubicBezTo>
                      <a:pt x="66436" y="0"/>
                      <a:pt x="85598" y="17717"/>
                      <a:pt x="85598" y="39572"/>
                    </a:cubicBezTo>
                    <a:cubicBezTo>
                      <a:pt x="85598" y="61427"/>
                      <a:pt x="66436" y="79144"/>
                      <a:pt x="42799" y="79144"/>
                    </a:cubicBezTo>
                    <a:cubicBezTo>
                      <a:pt x="19162" y="79144"/>
                      <a:pt x="0" y="61427"/>
                      <a:pt x="0" y="39572"/>
                    </a:cubicBezTo>
                    <a:cubicBezTo>
                      <a:pt x="0" y="17717"/>
                      <a:pt x="19162" y="0"/>
                      <a:pt x="42799" y="0"/>
                    </a:cubicBezTo>
                    <a:close/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79" name="Рисунок 78">
                <a:extLst>
                  <a:ext uri="{FF2B5EF4-FFF2-40B4-BE49-F238E27FC236}">
                    <a16:creationId xmlns:a16="http://schemas.microsoft.com/office/drawing/2014/main" xmlns="" id="{C256E583-D480-4C61-A9E7-63F713A2C9B4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9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/>
            </p:blipFill>
            <p:spPr bwMode="auto">
              <a:xfrm>
                <a:off x="19201939" y="4433300"/>
                <a:ext cx="85598" cy="79144"/>
              </a:xfrm>
              <a:custGeom>
                <a:avLst/>
                <a:gdLst>
                  <a:gd name="connsiteX0" fmla="*/ 42799 w 85598"/>
                  <a:gd name="connsiteY0" fmla="*/ 0 h 79144"/>
                  <a:gd name="connsiteX1" fmla="*/ 85598 w 85598"/>
                  <a:gd name="connsiteY1" fmla="*/ 39572 h 79144"/>
                  <a:gd name="connsiteX2" fmla="*/ 42799 w 85598"/>
                  <a:gd name="connsiteY2" fmla="*/ 79144 h 79144"/>
                  <a:gd name="connsiteX3" fmla="*/ 0 w 85598"/>
                  <a:gd name="connsiteY3" fmla="*/ 39572 h 79144"/>
                  <a:gd name="connsiteX4" fmla="*/ 42799 w 85598"/>
                  <a:gd name="connsiteY4" fmla="*/ 0 h 791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5598" h="79144">
                    <a:moveTo>
                      <a:pt x="42799" y="0"/>
                    </a:moveTo>
                    <a:cubicBezTo>
                      <a:pt x="66436" y="0"/>
                      <a:pt x="85598" y="17717"/>
                      <a:pt x="85598" y="39572"/>
                    </a:cubicBezTo>
                    <a:cubicBezTo>
                      <a:pt x="85598" y="61427"/>
                      <a:pt x="66436" y="79144"/>
                      <a:pt x="42799" y="79144"/>
                    </a:cubicBezTo>
                    <a:cubicBezTo>
                      <a:pt x="19162" y="79144"/>
                      <a:pt x="0" y="61427"/>
                      <a:pt x="0" y="39572"/>
                    </a:cubicBezTo>
                    <a:cubicBezTo>
                      <a:pt x="0" y="17717"/>
                      <a:pt x="19162" y="0"/>
                      <a:pt x="42799" y="0"/>
                    </a:cubicBezTo>
                    <a:close/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80" name="Рисунок 79">
                <a:extLst>
                  <a:ext uri="{FF2B5EF4-FFF2-40B4-BE49-F238E27FC236}">
                    <a16:creationId xmlns:a16="http://schemas.microsoft.com/office/drawing/2014/main" xmlns="" id="{C256E583-D480-4C61-A9E7-63F713A2C9B4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9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/>
            </p:blipFill>
            <p:spPr bwMode="auto">
              <a:xfrm>
                <a:off x="18894316" y="4354156"/>
                <a:ext cx="85598" cy="79144"/>
              </a:xfrm>
              <a:custGeom>
                <a:avLst/>
                <a:gdLst>
                  <a:gd name="connsiteX0" fmla="*/ 42799 w 85598"/>
                  <a:gd name="connsiteY0" fmla="*/ 0 h 79144"/>
                  <a:gd name="connsiteX1" fmla="*/ 85598 w 85598"/>
                  <a:gd name="connsiteY1" fmla="*/ 39572 h 79144"/>
                  <a:gd name="connsiteX2" fmla="*/ 42799 w 85598"/>
                  <a:gd name="connsiteY2" fmla="*/ 79144 h 79144"/>
                  <a:gd name="connsiteX3" fmla="*/ 0 w 85598"/>
                  <a:gd name="connsiteY3" fmla="*/ 39572 h 79144"/>
                  <a:gd name="connsiteX4" fmla="*/ 42799 w 85598"/>
                  <a:gd name="connsiteY4" fmla="*/ 0 h 791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5598" h="79144">
                    <a:moveTo>
                      <a:pt x="42799" y="0"/>
                    </a:moveTo>
                    <a:cubicBezTo>
                      <a:pt x="66436" y="0"/>
                      <a:pt x="85598" y="17717"/>
                      <a:pt x="85598" y="39572"/>
                    </a:cubicBezTo>
                    <a:cubicBezTo>
                      <a:pt x="85598" y="61427"/>
                      <a:pt x="66436" y="79144"/>
                      <a:pt x="42799" y="79144"/>
                    </a:cubicBezTo>
                    <a:cubicBezTo>
                      <a:pt x="19162" y="79144"/>
                      <a:pt x="0" y="61427"/>
                      <a:pt x="0" y="39572"/>
                    </a:cubicBezTo>
                    <a:cubicBezTo>
                      <a:pt x="0" y="17717"/>
                      <a:pt x="19162" y="0"/>
                      <a:pt x="42799" y="0"/>
                    </a:cubicBezTo>
                    <a:close/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81" name="Рисунок 80">
                <a:extLst>
                  <a:ext uri="{FF2B5EF4-FFF2-40B4-BE49-F238E27FC236}">
                    <a16:creationId xmlns:a16="http://schemas.microsoft.com/office/drawing/2014/main" xmlns="" id="{C256E583-D480-4C61-A9E7-63F713A2C9B4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9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/>
            </p:blipFill>
            <p:spPr bwMode="auto">
              <a:xfrm>
                <a:off x="19084215" y="4527613"/>
                <a:ext cx="85598" cy="79144"/>
              </a:xfrm>
              <a:custGeom>
                <a:avLst/>
                <a:gdLst>
                  <a:gd name="connsiteX0" fmla="*/ 42799 w 85598"/>
                  <a:gd name="connsiteY0" fmla="*/ 0 h 79144"/>
                  <a:gd name="connsiteX1" fmla="*/ 85598 w 85598"/>
                  <a:gd name="connsiteY1" fmla="*/ 39572 h 79144"/>
                  <a:gd name="connsiteX2" fmla="*/ 42799 w 85598"/>
                  <a:gd name="connsiteY2" fmla="*/ 79144 h 79144"/>
                  <a:gd name="connsiteX3" fmla="*/ 0 w 85598"/>
                  <a:gd name="connsiteY3" fmla="*/ 39572 h 79144"/>
                  <a:gd name="connsiteX4" fmla="*/ 42799 w 85598"/>
                  <a:gd name="connsiteY4" fmla="*/ 0 h 791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5598" h="79144">
                    <a:moveTo>
                      <a:pt x="42799" y="0"/>
                    </a:moveTo>
                    <a:cubicBezTo>
                      <a:pt x="66436" y="0"/>
                      <a:pt x="85598" y="17717"/>
                      <a:pt x="85598" y="39572"/>
                    </a:cubicBezTo>
                    <a:cubicBezTo>
                      <a:pt x="85598" y="61427"/>
                      <a:pt x="66436" y="79144"/>
                      <a:pt x="42799" y="79144"/>
                    </a:cubicBezTo>
                    <a:cubicBezTo>
                      <a:pt x="19162" y="79144"/>
                      <a:pt x="0" y="61427"/>
                      <a:pt x="0" y="39572"/>
                    </a:cubicBezTo>
                    <a:cubicBezTo>
                      <a:pt x="0" y="17717"/>
                      <a:pt x="19162" y="0"/>
                      <a:pt x="42799" y="0"/>
                    </a:cubicBezTo>
                    <a:close/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82" name="Рисунок 81">
                <a:extLst>
                  <a:ext uri="{FF2B5EF4-FFF2-40B4-BE49-F238E27FC236}">
                    <a16:creationId xmlns:a16="http://schemas.microsoft.com/office/drawing/2014/main" xmlns="" id="{C256E583-D480-4C61-A9E7-63F713A2C9B4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9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/>
            </p:blipFill>
            <p:spPr bwMode="auto">
              <a:xfrm>
                <a:off x="18996857" y="4438683"/>
                <a:ext cx="85598" cy="79144"/>
              </a:xfrm>
              <a:custGeom>
                <a:avLst/>
                <a:gdLst>
                  <a:gd name="connsiteX0" fmla="*/ 42799 w 85598"/>
                  <a:gd name="connsiteY0" fmla="*/ 0 h 79144"/>
                  <a:gd name="connsiteX1" fmla="*/ 85598 w 85598"/>
                  <a:gd name="connsiteY1" fmla="*/ 39572 h 79144"/>
                  <a:gd name="connsiteX2" fmla="*/ 42799 w 85598"/>
                  <a:gd name="connsiteY2" fmla="*/ 79144 h 79144"/>
                  <a:gd name="connsiteX3" fmla="*/ 0 w 85598"/>
                  <a:gd name="connsiteY3" fmla="*/ 39572 h 79144"/>
                  <a:gd name="connsiteX4" fmla="*/ 42799 w 85598"/>
                  <a:gd name="connsiteY4" fmla="*/ 0 h 791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5598" h="79144">
                    <a:moveTo>
                      <a:pt x="42799" y="0"/>
                    </a:moveTo>
                    <a:cubicBezTo>
                      <a:pt x="66436" y="0"/>
                      <a:pt x="85598" y="17717"/>
                      <a:pt x="85598" y="39572"/>
                    </a:cubicBezTo>
                    <a:cubicBezTo>
                      <a:pt x="85598" y="61427"/>
                      <a:pt x="66436" y="79144"/>
                      <a:pt x="42799" y="79144"/>
                    </a:cubicBezTo>
                    <a:cubicBezTo>
                      <a:pt x="19162" y="79144"/>
                      <a:pt x="0" y="61427"/>
                      <a:pt x="0" y="39572"/>
                    </a:cubicBezTo>
                    <a:cubicBezTo>
                      <a:pt x="0" y="17717"/>
                      <a:pt x="19162" y="0"/>
                      <a:pt x="42799" y="0"/>
                    </a:cubicBezTo>
                    <a:close/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  <p:grpSp>
          <p:nvGrpSpPr>
            <p:cNvPr id="66" name="Группа 65"/>
            <p:cNvGrpSpPr/>
            <p:nvPr/>
          </p:nvGrpSpPr>
          <p:grpSpPr>
            <a:xfrm>
              <a:off x="21263729" y="3278131"/>
              <a:ext cx="393221" cy="325857"/>
              <a:chOff x="18894316" y="4280900"/>
              <a:chExt cx="393221" cy="325857"/>
            </a:xfrm>
          </p:grpSpPr>
          <p:pic>
            <p:nvPicPr>
              <p:cNvPr id="73" name="Рисунок 72">
                <a:extLst>
                  <a:ext uri="{FF2B5EF4-FFF2-40B4-BE49-F238E27FC236}">
                    <a16:creationId xmlns:a16="http://schemas.microsoft.com/office/drawing/2014/main" xmlns="" id="{C256E583-D480-4C61-A9E7-63F713A2C9B4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9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/>
            </p:blipFill>
            <p:spPr bwMode="auto">
              <a:xfrm>
                <a:off x="19049539" y="4280900"/>
                <a:ext cx="85598" cy="79144"/>
              </a:xfrm>
              <a:custGeom>
                <a:avLst/>
                <a:gdLst>
                  <a:gd name="connsiteX0" fmla="*/ 42799 w 85598"/>
                  <a:gd name="connsiteY0" fmla="*/ 0 h 79144"/>
                  <a:gd name="connsiteX1" fmla="*/ 85598 w 85598"/>
                  <a:gd name="connsiteY1" fmla="*/ 39572 h 79144"/>
                  <a:gd name="connsiteX2" fmla="*/ 42799 w 85598"/>
                  <a:gd name="connsiteY2" fmla="*/ 79144 h 79144"/>
                  <a:gd name="connsiteX3" fmla="*/ 0 w 85598"/>
                  <a:gd name="connsiteY3" fmla="*/ 39572 h 79144"/>
                  <a:gd name="connsiteX4" fmla="*/ 42799 w 85598"/>
                  <a:gd name="connsiteY4" fmla="*/ 0 h 791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5598" h="79144">
                    <a:moveTo>
                      <a:pt x="42799" y="0"/>
                    </a:moveTo>
                    <a:cubicBezTo>
                      <a:pt x="66436" y="0"/>
                      <a:pt x="85598" y="17717"/>
                      <a:pt x="85598" y="39572"/>
                    </a:cubicBezTo>
                    <a:cubicBezTo>
                      <a:pt x="85598" y="61427"/>
                      <a:pt x="66436" y="79144"/>
                      <a:pt x="42799" y="79144"/>
                    </a:cubicBezTo>
                    <a:cubicBezTo>
                      <a:pt x="19162" y="79144"/>
                      <a:pt x="0" y="61427"/>
                      <a:pt x="0" y="39572"/>
                    </a:cubicBezTo>
                    <a:cubicBezTo>
                      <a:pt x="0" y="17717"/>
                      <a:pt x="19162" y="0"/>
                      <a:pt x="42799" y="0"/>
                    </a:cubicBezTo>
                    <a:close/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74" name="Рисунок 73">
                <a:extLst>
                  <a:ext uri="{FF2B5EF4-FFF2-40B4-BE49-F238E27FC236}">
                    <a16:creationId xmlns:a16="http://schemas.microsoft.com/office/drawing/2014/main" xmlns="" id="{C256E583-D480-4C61-A9E7-63F713A2C9B4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9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/>
            </p:blipFill>
            <p:spPr bwMode="auto">
              <a:xfrm>
                <a:off x="19201939" y="4433300"/>
                <a:ext cx="85598" cy="79144"/>
              </a:xfrm>
              <a:custGeom>
                <a:avLst/>
                <a:gdLst>
                  <a:gd name="connsiteX0" fmla="*/ 42799 w 85598"/>
                  <a:gd name="connsiteY0" fmla="*/ 0 h 79144"/>
                  <a:gd name="connsiteX1" fmla="*/ 85598 w 85598"/>
                  <a:gd name="connsiteY1" fmla="*/ 39572 h 79144"/>
                  <a:gd name="connsiteX2" fmla="*/ 42799 w 85598"/>
                  <a:gd name="connsiteY2" fmla="*/ 79144 h 79144"/>
                  <a:gd name="connsiteX3" fmla="*/ 0 w 85598"/>
                  <a:gd name="connsiteY3" fmla="*/ 39572 h 79144"/>
                  <a:gd name="connsiteX4" fmla="*/ 42799 w 85598"/>
                  <a:gd name="connsiteY4" fmla="*/ 0 h 791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5598" h="79144">
                    <a:moveTo>
                      <a:pt x="42799" y="0"/>
                    </a:moveTo>
                    <a:cubicBezTo>
                      <a:pt x="66436" y="0"/>
                      <a:pt x="85598" y="17717"/>
                      <a:pt x="85598" y="39572"/>
                    </a:cubicBezTo>
                    <a:cubicBezTo>
                      <a:pt x="85598" y="61427"/>
                      <a:pt x="66436" y="79144"/>
                      <a:pt x="42799" y="79144"/>
                    </a:cubicBezTo>
                    <a:cubicBezTo>
                      <a:pt x="19162" y="79144"/>
                      <a:pt x="0" y="61427"/>
                      <a:pt x="0" y="39572"/>
                    </a:cubicBezTo>
                    <a:cubicBezTo>
                      <a:pt x="0" y="17717"/>
                      <a:pt x="19162" y="0"/>
                      <a:pt x="42799" y="0"/>
                    </a:cubicBezTo>
                    <a:close/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75" name="Рисунок 74">
                <a:extLst>
                  <a:ext uri="{FF2B5EF4-FFF2-40B4-BE49-F238E27FC236}">
                    <a16:creationId xmlns:a16="http://schemas.microsoft.com/office/drawing/2014/main" xmlns="" id="{C256E583-D480-4C61-A9E7-63F713A2C9B4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9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/>
            </p:blipFill>
            <p:spPr bwMode="auto">
              <a:xfrm>
                <a:off x="18894316" y="4354156"/>
                <a:ext cx="85598" cy="79144"/>
              </a:xfrm>
              <a:custGeom>
                <a:avLst/>
                <a:gdLst>
                  <a:gd name="connsiteX0" fmla="*/ 42799 w 85598"/>
                  <a:gd name="connsiteY0" fmla="*/ 0 h 79144"/>
                  <a:gd name="connsiteX1" fmla="*/ 85598 w 85598"/>
                  <a:gd name="connsiteY1" fmla="*/ 39572 h 79144"/>
                  <a:gd name="connsiteX2" fmla="*/ 42799 w 85598"/>
                  <a:gd name="connsiteY2" fmla="*/ 79144 h 79144"/>
                  <a:gd name="connsiteX3" fmla="*/ 0 w 85598"/>
                  <a:gd name="connsiteY3" fmla="*/ 39572 h 79144"/>
                  <a:gd name="connsiteX4" fmla="*/ 42799 w 85598"/>
                  <a:gd name="connsiteY4" fmla="*/ 0 h 791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5598" h="79144">
                    <a:moveTo>
                      <a:pt x="42799" y="0"/>
                    </a:moveTo>
                    <a:cubicBezTo>
                      <a:pt x="66436" y="0"/>
                      <a:pt x="85598" y="17717"/>
                      <a:pt x="85598" y="39572"/>
                    </a:cubicBezTo>
                    <a:cubicBezTo>
                      <a:pt x="85598" y="61427"/>
                      <a:pt x="66436" y="79144"/>
                      <a:pt x="42799" y="79144"/>
                    </a:cubicBezTo>
                    <a:cubicBezTo>
                      <a:pt x="19162" y="79144"/>
                      <a:pt x="0" y="61427"/>
                      <a:pt x="0" y="39572"/>
                    </a:cubicBezTo>
                    <a:cubicBezTo>
                      <a:pt x="0" y="17717"/>
                      <a:pt x="19162" y="0"/>
                      <a:pt x="42799" y="0"/>
                    </a:cubicBezTo>
                    <a:close/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76" name="Рисунок 75">
                <a:extLst>
                  <a:ext uri="{FF2B5EF4-FFF2-40B4-BE49-F238E27FC236}">
                    <a16:creationId xmlns:a16="http://schemas.microsoft.com/office/drawing/2014/main" xmlns="" id="{C256E583-D480-4C61-A9E7-63F713A2C9B4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9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/>
            </p:blipFill>
            <p:spPr bwMode="auto">
              <a:xfrm>
                <a:off x="19084215" y="4527613"/>
                <a:ext cx="85598" cy="79144"/>
              </a:xfrm>
              <a:custGeom>
                <a:avLst/>
                <a:gdLst>
                  <a:gd name="connsiteX0" fmla="*/ 42799 w 85598"/>
                  <a:gd name="connsiteY0" fmla="*/ 0 h 79144"/>
                  <a:gd name="connsiteX1" fmla="*/ 85598 w 85598"/>
                  <a:gd name="connsiteY1" fmla="*/ 39572 h 79144"/>
                  <a:gd name="connsiteX2" fmla="*/ 42799 w 85598"/>
                  <a:gd name="connsiteY2" fmla="*/ 79144 h 79144"/>
                  <a:gd name="connsiteX3" fmla="*/ 0 w 85598"/>
                  <a:gd name="connsiteY3" fmla="*/ 39572 h 79144"/>
                  <a:gd name="connsiteX4" fmla="*/ 42799 w 85598"/>
                  <a:gd name="connsiteY4" fmla="*/ 0 h 791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5598" h="79144">
                    <a:moveTo>
                      <a:pt x="42799" y="0"/>
                    </a:moveTo>
                    <a:cubicBezTo>
                      <a:pt x="66436" y="0"/>
                      <a:pt x="85598" y="17717"/>
                      <a:pt x="85598" y="39572"/>
                    </a:cubicBezTo>
                    <a:cubicBezTo>
                      <a:pt x="85598" y="61427"/>
                      <a:pt x="66436" y="79144"/>
                      <a:pt x="42799" y="79144"/>
                    </a:cubicBezTo>
                    <a:cubicBezTo>
                      <a:pt x="19162" y="79144"/>
                      <a:pt x="0" y="61427"/>
                      <a:pt x="0" y="39572"/>
                    </a:cubicBezTo>
                    <a:cubicBezTo>
                      <a:pt x="0" y="17717"/>
                      <a:pt x="19162" y="0"/>
                      <a:pt x="42799" y="0"/>
                    </a:cubicBezTo>
                    <a:close/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77" name="Рисунок 76">
                <a:extLst>
                  <a:ext uri="{FF2B5EF4-FFF2-40B4-BE49-F238E27FC236}">
                    <a16:creationId xmlns:a16="http://schemas.microsoft.com/office/drawing/2014/main" xmlns="" id="{C256E583-D480-4C61-A9E7-63F713A2C9B4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9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/>
            </p:blipFill>
            <p:spPr bwMode="auto">
              <a:xfrm>
                <a:off x="18996857" y="4438683"/>
                <a:ext cx="85598" cy="79144"/>
              </a:xfrm>
              <a:custGeom>
                <a:avLst/>
                <a:gdLst>
                  <a:gd name="connsiteX0" fmla="*/ 42799 w 85598"/>
                  <a:gd name="connsiteY0" fmla="*/ 0 h 79144"/>
                  <a:gd name="connsiteX1" fmla="*/ 85598 w 85598"/>
                  <a:gd name="connsiteY1" fmla="*/ 39572 h 79144"/>
                  <a:gd name="connsiteX2" fmla="*/ 42799 w 85598"/>
                  <a:gd name="connsiteY2" fmla="*/ 79144 h 79144"/>
                  <a:gd name="connsiteX3" fmla="*/ 0 w 85598"/>
                  <a:gd name="connsiteY3" fmla="*/ 39572 h 79144"/>
                  <a:gd name="connsiteX4" fmla="*/ 42799 w 85598"/>
                  <a:gd name="connsiteY4" fmla="*/ 0 h 791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5598" h="79144">
                    <a:moveTo>
                      <a:pt x="42799" y="0"/>
                    </a:moveTo>
                    <a:cubicBezTo>
                      <a:pt x="66436" y="0"/>
                      <a:pt x="85598" y="17717"/>
                      <a:pt x="85598" y="39572"/>
                    </a:cubicBezTo>
                    <a:cubicBezTo>
                      <a:pt x="85598" y="61427"/>
                      <a:pt x="66436" y="79144"/>
                      <a:pt x="42799" y="79144"/>
                    </a:cubicBezTo>
                    <a:cubicBezTo>
                      <a:pt x="19162" y="79144"/>
                      <a:pt x="0" y="61427"/>
                      <a:pt x="0" y="39572"/>
                    </a:cubicBezTo>
                    <a:cubicBezTo>
                      <a:pt x="0" y="17717"/>
                      <a:pt x="19162" y="0"/>
                      <a:pt x="42799" y="0"/>
                    </a:cubicBezTo>
                    <a:close/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  <p:grpSp>
          <p:nvGrpSpPr>
            <p:cNvPr id="67" name="Группа 66"/>
            <p:cNvGrpSpPr/>
            <p:nvPr/>
          </p:nvGrpSpPr>
          <p:grpSpPr>
            <a:xfrm>
              <a:off x="19178668" y="2147903"/>
              <a:ext cx="393221" cy="325857"/>
              <a:chOff x="18894316" y="4280900"/>
              <a:chExt cx="393221" cy="325857"/>
            </a:xfrm>
          </p:grpSpPr>
          <p:pic>
            <p:nvPicPr>
              <p:cNvPr id="68" name="Рисунок 67">
                <a:extLst>
                  <a:ext uri="{FF2B5EF4-FFF2-40B4-BE49-F238E27FC236}">
                    <a16:creationId xmlns:a16="http://schemas.microsoft.com/office/drawing/2014/main" xmlns="" id="{C256E583-D480-4C61-A9E7-63F713A2C9B4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9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/>
            </p:blipFill>
            <p:spPr bwMode="auto">
              <a:xfrm>
                <a:off x="19049539" y="4280900"/>
                <a:ext cx="85598" cy="79144"/>
              </a:xfrm>
              <a:custGeom>
                <a:avLst/>
                <a:gdLst>
                  <a:gd name="connsiteX0" fmla="*/ 42799 w 85598"/>
                  <a:gd name="connsiteY0" fmla="*/ 0 h 79144"/>
                  <a:gd name="connsiteX1" fmla="*/ 85598 w 85598"/>
                  <a:gd name="connsiteY1" fmla="*/ 39572 h 79144"/>
                  <a:gd name="connsiteX2" fmla="*/ 42799 w 85598"/>
                  <a:gd name="connsiteY2" fmla="*/ 79144 h 79144"/>
                  <a:gd name="connsiteX3" fmla="*/ 0 w 85598"/>
                  <a:gd name="connsiteY3" fmla="*/ 39572 h 79144"/>
                  <a:gd name="connsiteX4" fmla="*/ 42799 w 85598"/>
                  <a:gd name="connsiteY4" fmla="*/ 0 h 791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5598" h="79144">
                    <a:moveTo>
                      <a:pt x="42799" y="0"/>
                    </a:moveTo>
                    <a:cubicBezTo>
                      <a:pt x="66436" y="0"/>
                      <a:pt x="85598" y="17717"/>
                      <a:pt x="85598" y="39572"/>
                    </a:cubicBezTo>
                    <a:cubicBezTo>
                      <a:pt x="85598" y="61427"/>
                      <a:pt x="66436" y="79144"/>
                      <a:pt x="42799" y="79144"/>
                    </a:cubicBezTo>
                    <a:cubicBezTo>
                      <a:pt x="19162" y="79144"/>
                      <a:pt x="0" y="61427"/>
                      <a:pt x="0" y="39572"/>
                    </a:cubicBezTo>
                    <a:cubicBezTo>
                      <a:pt x="0" y="17717"/>
                      <a:pt x="19162" y="0"/>
                      <a:pt x="42799" y="0"/>
                    </a:cubicBezTo>
                    <a:close/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69" name="Рисунок 68">
                <a:extLst>
                  <a:ext uri="{FF2B5EF4-FFF2-40B4-BE49-F238E27FC236}">
                    <a16:creationId xmlns:a16="http://schemas.microsoft.com/office/drawing/2014/main" xmlns="" id="{C256E583-D480-4C61-A9E7-63F713A2C9B4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9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/>
            </p:blipFill>
            <p:spPr bwMode="auto">
              <a:xfrm>
                <a:off x="19201939" y="4433300"/>
                <a:ext cx="85598" cy="79144"/>
              </a:xfrm>
              <a:custGeom>
                <a:avLst/>
                <a:gdLst>
                  <a:gd name="connsiteX0" fmla="*/ 42799 w 85598"/>
                  <a:gd name="connsiteY0" fmla="*/ 0 h 79144"/>
                  <a:gd name="connsiteX1" fmla="*/ 85598 w 85598"/>
                  <a:gd name="connsiteY1" fmla="*/ 39572 h 79144"/>
                  <a:gd name="connsiteX2" fmla="*/ 42799 w 85598"/>
                  <a:gd name="connsiteY2" fmla="*/ 79144 h 79144"/>
                  <a:gd name="connsiteX3" fmla="*/ 0 w 85598"/>
                  <a:gd name="connsiteY3" fmla="*/ 39572 h 79144"/>
                  <a:gd name="connsiteX4" fmla="*/ 42799 w 85598"/>
                  <a:gd name="connsiteY4" fmla="*/ 0 h 791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5598" h="79144">
                    <a:moveTo>
                      <a:pt x="42799" y="0"/>
                    </a:moveTo>
                    <a:cubicBezTo>
                      <a:pt x="66436" y="0"/>
                      <a:pt x="85598" y="17717"/>
                      <a:pt x="85598" y="39572"/>
                    </a:cubicBezTo>
                    <a:cubicBezTo>
                      <a:pt x="85598" y="61427"/>
                      <a:pt x="66436" y="79144"/>
                      <a:pt x="42799" y="79144"/>
                    </a:cubicBezTo>
                    <a:cubicBezTo>
                      <a:pt x="19162" y="79144"/>
                      <a:pt x="0" y="61427"/>
                      <a:pt x="0" y="39572"/>
                    </a:cubicBezTo>
                    <a:cubicBezTo>
                      <a:pt x="0" y="17717"/>
                      <a:pt x="19162" y="0"/>
                      <a:pt x="42799" y="0"/>
                    </a:cubicBezTo>
                    <a:close/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70" name="Рисунок 69">
                <a:extLst>
                  <a:ext uri="{FF2B5EF4-FFF2-40B4-BE49-F238E27FC236}">
                    <a16:creationId xmlns:a16="http://schemas.microsoft.com/office/drawing/2014/main" xmlns="" id="{C256E583-D480-4C61-A9E7-63F713A2C9B4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9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/>
            </p:blipFill>
            <p:spPr bwMode="auto">
              <a:xfrm>
                <a:off x="18894316" y="4354156"/>
                <a:ext cx="85598" cy="79144"/>
              </a:xfrm>
              <a:custGeom>
                <a:avLst/>
                <a:gdLst>
                  <a:gd name="connsiteX0" fmla="*/ 42799 w 85598"/>
                  <a:gd name="connsiteY0" fmla="*/ 0 h 79144"/>
                  <a:gd name="connsiteX1" fmla="*/ 85598 w 85598"/>
                  <a:gd name="connsiteY1" fmla="*/ 39572 h 79144"/>
                  <a:gd name="connsiteX2" fmla="*/ 42799 w 85598"/>
                  <a:gd name="connsiteY2" fmla="*/ 79144 h 79144"/>
                  <a:gd name="connsiteX3" fmla="*/ 0 w 85598"/>
                  <a:gd name="connsiteY3" fmla="*/ 39572 h 79144"/>
                  <a:gd name="connsiteX4" fmla="*/ 42799 w 85598"/>
                  <a:gd name="connsiteY4" fmla="*/ 0 h 791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5598" h="79144">
                    <a:moveTo>
                      <a:pt x="42799" y="0"/>
                    </a:moveTo>
                    <a:cubicBezTo>
                      <a:pt x="66436" y="0"/>
                      <a:pt x="85598" y="17717"/>
                      <a:pt x="85598" y="39572"/>
                    </a:cubicBezTo>
                    <a:cubicBezTo>
                      <a:pt x="85598" y="61427"/>
                      <a:pt x="66436" y="79144"/>
                      <a:pt x="42799" y="79144"/>
                    </a:cubicBezTo>
                    <a:cubicBezTo>
                      <a:pt x="19162" y="79144"/>
                      <a:pt x="0" y="61427"/>
                      <a:pt x="0" y="39572"/>
                    </a:cubicBezTo>
                    <a:cubicBezTo>
                      <a:pt x="0" y="17717"/>
                      <a:pt x="19162" y="0"/>
                      <a:pt x="42799" y="0"/>
                    </a:cubicBezTo>
                    <a:close/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71" name="Рисунок 70">
                <a:extLst>
                  <a:ext uri="{FF2B5EF4-FFF2-40B4-BE49-F238E27FC236}">
                    <a16:creationId xmlns:a16="http://schemas.microsoft.com/office/drawing/2014/main" xmlns="" id="{C256E583-D480-4C61-A9E7-63F713A2C9B4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9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/>
            </p:blipFill>
            <p:spPr bwMode="auto">
              <a:xfrm>
                <a:off x="19084215" y="4527613"/>
                <a:ext cx="85598" cy="79144"/>
              </a:xfrm>
              <a:custGeom>
                <a:avLst/>
                <a:gdLst>
                  <a:gd name="connsiteX0" fmla="*/ 42799 w 85598"/>
                  <a:gd name="connsiteY0" fmla="*/ 0 h 79144"/>
                  <a:gd name="connsiteX1" fmla="*/ 85598 w 85598"/>
                  <a:gd name="connsiteY1" fmla="*/ 39572 h 79144"/>
                  <a:gd name="connsiteX2" fmla="*/ 42799 w 85598"/>
                  <a:gd name="connsiteY2" fmla="*/ 79144 h 79144"/>
                  <a:gd name="connsiteX3" fmla="*/ 0 w 85598"/>
                  <a:gd name="connsiteY3" fmla="*/ 39572 h 79144"/>
                  <a:gd name="connsiteX4" fmla="*/ 42799 w 85598"/>
                  <a:gd name="connsiteY4" fmla="*/ 0 h 791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5598" h="79144">
                    <a:moveTo>
                      <a:pt x="42799" y="0"/>
                    </a:moveTo>
                    <a:cubicBezTo>
                      <a:pt x="66436" y="0"/>
                      <a:pt x="85598" y="17717"/>
                      <a:pt x="85598" y="39572"/>
                    </a:cubicBezTo>
                    <a:cubicBezTo>
                      <a:pt x="85598" y="61427"/>
                      <a:pt x="66436" y="79144"/>
                      <a:pt x="42799" y="79144"/>
                    </a:cubicBezTo>
                    <a:cubicBezTo>
                      <a:pt x="19162" y="79144"/>
                      <a:pt x="0" y="61427"/>
                      <a:pt x="0" y="39572"/>
                    </a:cubicBezTo>
                    <a:cubicBezTo>
                      <a:pt x="0" y="17717"/>
                      <a:pt x="19162" y="0"/>
                      <a:pt x="42799" y="0"/>
                    </a:cubicBezTo>
                    <a:close/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72" name="Рисунок 71">
                <a:extLst>
                  <a:ext uri="{FF2B5EF4-FFF2-40B4-BE49-F238E27FC236}">
                    <a16:creationId xmlns:a16="http://schemas.microsoft.com/office/drawing/2014/main" xmlns="" id="{C256E583-D480-4C61-A9E7-63F713A2C9B4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9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/>
            </p:blipFill>
            <p:spPr bwMode="auto">
              <a:xfrm>
                <a:off x="18996857" y="4438683"/>
                <a:ext cx="85598" cy="79144"/>
              </a:xfrm>
              <a:custGeom>
                <a:avLst/>
                <a:gdLst>
                  <a:gd name="connsiteX0" fmla="*/ 42799 w 85598"/>
                  <a:gd name="connsiteY0" fmla="*/ 0 h 79144"/>
                  <a:gd name="connsiteX1" fmla="*/ 85598 w 85598"/>
                  <a:gd name="connsiteY1" fmla="*/ 39572 h 79144"/>
                  <a:gd name="connsiteX2" fmla="*/ 42799 w 85598"/>
                  <a:gd name="connsiteY2" fmla="*/ 79144 h 79144"/>
                  <a:gd name="connsiteX3" fmla="*/ 0 w 85598"/>
                  <a:gd name="connsiteY3" fmla="*/ 39572 h 79144"/>
                  <a:gd name="connsiteX4" fmla="*/ 42799 w 85598"/>
                  <a:gd name="connsiteY4" fmla="*/ 0 h 791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5598" h="79144">
                    <a:moveTo>
                      <a:pt x="42799" y="0"/>
                    </a:moveTo>
                    <a:cubicBezTo>
                      <a:pt x="66436" y="0"/>
                      <a:pt x="85598" y="17717"/>
                      <a:pt x="85598" y="39572"/>
                    </a:cubicBezTo>
                    <a:cubicBezTo>
                      <a:pt x="85598" y="61427"/>
                      <a:pt x="66436" y="79144"/>
                      <a:pt x="42799" y="79144"/>
                    </a:cubicBezTo>
                    <a:cubicBezTo>
                      <a:pt x="19162" y="79144"/>
                      <a:pt x="0" y="61427"/>
                      <a:pt x="0" y="39572"/>
                    </a:cubicBezTo>
                    <a:cubicBezTo>
                      <a:pt x="0" y="17717"/>
                      <a:pt x="19162" y="0"/>
                      <a:pt x="42799" y="0"/>
                    </a:cubicBezTo>
                    <a:close/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</p:grpSp>
      <p:sp>
        <p:nvSpPr>
          <p:cNvPr id="143" name="TextBox 142">
            <a:extLst>
              <a:ext uri="{FF2B5EF4-FFF2-40B4-BE49-F238E27FC236}">
                <a16:creationId xmlns:a16="http://schemas.microsoft.com/office/drawing/2014/main" xmlns="" id="{7B4B29C8-DAC3-434A-BC67-AE93023D5D0F}"/>
              </a:ext>
            </a:extLst>
          </p:cNvPr>
          <p:cNvSpPr txBox="1"/>
          <p:nvPr/>
        </p:nvSpPr>
        <p:spPr>
          <a:xfrm>
            <a:off x="7584020" y="1489659"/>
            <a:ext cx="1478845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217729"/>
            <a:r>
              <a:rPr lang="en-US" sz="4400" b="1" dirty="0" smtClean="0">
                <a:solidFill>
                  <a:srgbClr val="EAB622"/>
                </a:solidFill>
              </a:rPr>
              <a:t>&gt;</a:t>
            </a:r>
            <a:r>
              <a:rPr lang="en-US" sz="7200" b="1" dirty="0" smtClean="0">
                <a:solidFill>
                  <a:srgbClr val="EAB622"/>
                </a:solidFill>
              </a:rPr>
              <a:t>5</a:t>
            </a:r>
            <a:r>
              <a:rPr lang="ru-RU" sz="7200" b="1" dirty="0" smtClean="0">
                <a:solidFill>
                  <a:srgbClr val="EAB622"/>
                </a:solidFill>
              </a:rPr>
              <a:t>0</a:t>
            </a:r>
            <a:endParaRPr lang="ru-RU" sz="6600" b="1" dirty="0">
              <a:solidFill>
                <a:srgbClr val="EAB622"/>
              </a:solidFill>
            </a:endParaRPr>
          </a:p>
        </p:txBody>
      </p:sp>
      <p:pic>
        <p:nvPicPr>
          <p:cNvPr id="145" name="Рисунок 144">
            <a:extLst>
              <a:ext uri="{FF2B5EF4-FFF2-40B4-BE49-F238E27FC236}">
                <a16:creationId xmlns:a16="http://schemas.microsoft.com/office/drawing/2014/main" xmlns="" id="{60F798B8-0FC4-4ADF-AF27-8ABF1FC619CA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6434942" y="1689381"/>
            <a:ext cx="1123485" cy="1118784"/>
          </a:xfrm>
          <a:prstGeom prst="rect">
            <a:avLst/>
          </a:prstGeom>
        </p:spPr>
      </p:pic>
      <p:sp>
        <p:nvSpPr>
          <p:cNvPr id="147" name="TextBox 146">
            <a:extLst>
              <a:ext uri="{FF2B5EF4-FFF2-40B4-BE49-F238E27FC236}">
                <a16:creationId xmlns:a16="http://schemas.microsoft.com/office/drawing/2014/main" xmlns="" id="{4BD23A7F-D099-4F90-8D08-974EA067B5C7}"/>
              </a:ext>
            </a:extLst>
          </p:cNvPr>
          <p:cNvSpPr txBox="1"/>
          <p:nvPr/>
        </p:nvSpPr>
        <p:spPr>
          <a:xfrm>
            <a:off x="7878721" y="2817866"/>
            <a:ext cx="1117036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217729"/>
            <a:r>
              <a:rPr lang="ru-RU" sz="7200" b="1" dirty="0" smtClean="0">
                <a:solidFill>
                  <a:srgbClr val="EAB622"/>
                </a:solidFill>
              </a:rPr>
              <a:t>83</a:t>
            </a:r>
            <a:endParaRPr lang="ru-RU" sz="7200" b="1" dirty="0">
              <a:solidFill>
                <a:srgbClr val="EAB622"/>
              </a:solidFill>
            </a:endParaRPr>
          </a:p>
        </p:txBody>
      </p:sp>
      <p:sp>
        <p:nvSpPr>
          <p:cNvPr id="148" name="TextBox 147">
            <a:extLst>
              <a:ext uri="{FF2B5EF4-FFF2-40B4-BE49-F238E27FC236}">
                <a16:creationId xmlns:a16="http://schemas.microsoft.com/office/drawing/2014/main" xmlns="" id="{FA2C9AA9-510F-4905-9DA5-C587629F62DA}"/>
              </a:ext>
            </a:extLst>
          </p:cNvPr>
          <p:cNvSpPr txBox="1"/>
          <p:nvPr/>
        </p:nvSpPr>
        <p:spPr>
          <a:xfrm>
            <a:off x="8918814" y="3092119"/>
            <a:ext cx="3048089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217729"/>
            <a:r>
              <a:rPr lang="ru-RU" sz="2000" b="1" dirty="0" smtClean="0">
                <a:solidFill>
                  <a:srgbClr val="333333"/>
                </a:solidFill>
              </a:rPr>
              <a:t>человека на исполнении казначейских функций</a:t>
            </a:r>
            <a:endParaRPr lang="ru-RU" sz="2000" b="1" dirty="0">
              <a:solidFill>
                <a:prstClr val="black"/>
              </a:solidFill>
            </a:endParaRPr>
          </a:p>
        </p:txBody>
      </p:sp>
      <p:sp>
        <p:nvSpPr>
          <p:cNvPr id="149" name="TextBox 148"/>
          <p:cNvSpPr txBox="1"/>
          <p:nvPr/>
        </p:nvSpPr>
        <p:spPr>
          <a:xfrm>
            <a:off x="638226" y="923582"/>
            <a:ext cx="656607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3200" b="1" u="sng" dirty="0" smtClean="0"/>
              <a:t>Казначейские  </a:t>
            </a:r>
            <a:r>
              <a:rPr lang="ru-RU" sz="3200" b="1" u="sng" dirty="0"/>
              <a:t>функции. Как было</a:t>
            </a:r>
          </a:p>
        </p:txBody>
      </p:sp>
      <p:sp>
        <p:nvSpPr>
          <p:cNvPr id="151" name="TextBox 150">
            <a:extLst>
              <a:ext uri="{FF2B5EF4-FFF2-40B4-BE49-F238E27FC236}">
                <a16:creationId xmlns:a16="http://schemas.microsoft.com/office/drawing/2014/main" xmlns="" id="{7B4B29C8-DAC3-434A-BC67-AE93023D5D0F}"/>
              </a:ext>
            </a:extLst>
          </p:cNvPr>
          <p:cNvSpPr txBox="1"/>
          <p:nvPr/>
        </p:nvSpPr>
        <p:spPr>
          <a:xfrm>
            <a:off x="7586949" y="4063486"/>
            <a:ext cx="1475916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217729"/>
            <a:r>
              <a:rPr lang="en-US" sz="4400" b="1" dirty="0" smtClean="0">
                <a:solidFill>
                  <a:srgbClr val="EAB622"/>
                </a:solidFill>
              </a:rPr>
              <a:t>&gt;</a:t>
            </a:r>
            <a:r>
              <a:rPr lang="ru-RU" sz="7200" b="1" dirty="0" smtClean="0">
                <a:solidFill>
                  <a:srgbClr val="EAB622"/>
                </a:solidFill>
              </a:rPr>
              <a:t>60</a:t>
            </a:r>
            <a:endParaRPr lang="ru-RU" sz="7200" b="1" dirty="0">
              <a:solidFill>
                <a:srgbClr val="EAB622"/>
              </a:solidFill>
            </a:endParaRPr>
          </a:p>
        </p:txBody>
      </p:sp>
      <p:sp>
        <p:nvSpPr>
          <p:cNvPr id="153" name="TextBox 152"/>
          <p:cNvSpPr txBox="1"/>
          <p:nvPr/>
        </p:nvSpPr>
        <p:spPr>
          <a:xfrm>
            <a:off x="8918814" y="4339253"/>
            <a:ext cx="279962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b="1" dirty="0" smtClean="0">
                <a:solidFill>
                  <a:srgbClr val="333333"/>
                </a:solidFill>
              </a:rPr>
              <a:t>локаций размещения АУП</a:t>
            </a:r>
            <a:endParaRPr lang="ru-RU" sz="2000" b="1" dirty="0">
              <a:solidFill>
                <a:srgbClr val="333333"/>
              </a:solidFill>
            </a:endParaRPr>
          </a:p>
        </p:txBody>
      </p:sp>
      <p:grpSp>
        <p:nvGrpSpPr>
          <p:cNvPr id="154" name="Группа 153"/>
          <p:cNvGrpSpPr/>
          <p:nvPr/>
        </p:nvGrpSpPr>
        <p:grpSpPr>
          <a:xfrm>
            <a:off x="6439726" y="2872218"/>
            <a:ext cx="1192061" cy="1089427"/>
            <a:chOff x="245240" y="6781139"/>
            <a:chExt cx="830893" cy="827350"/>
          </a:xfrm>
        </p:grpSpPr>
        <p:grpSp>
          <p:nvGrpSpPr>
            <p:cNvPr id="155" name="Группа 154"/>
            <p:cNvGrpSpPr/>
            <p:nvPr/>
          </p:nvGrpSpPr>
          <p:grpSpPr>
            <a:xfrm>
              <a:off x="245240" y="6781139"/>
              <a:ext cx="830893" cy="827350"/>
              <a:chOff x="245240" y="6781139"/>
              <a:chExt cx="830893" cy="827350"/>
            </a:xfrm>
          </p:grpSpPr>
          <p:pic>
            <p:nvPicPr>
              <p:cNvPr id="157" name="Рисунок 156">
                <a:extLst>
                  <a:ext uri="{FF2B5EF4-FFF2-40B4-BE49-F238E27FC236}">
                    <a16:creationId xmlns:a16="http://schemas.microsoft.com/office/drawing/2014/main" xmlns="" id="{19FD8DE0-6E8E-4E62-B4A9-5592D006940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2" cstate="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="" xmlns:asvg="http://schemas.microsoft.com/office/drawing/2016/SVG/main" r:embed="rId13"/>
                  </a:ext>
                </a:extLst>
              </a:blip>
              <a:stretch>
                <a:fillRect/>
              </a:stretch>
            </p:blipFill>
            <p:spPr>
              <a:xfrm>
                <a:off x="245240" y="6781139"/>
                <a:ext cx="830893" cy="827350"/>
              </a:xfrm>
              <a:prstGeom prst="rect">
                <a:avLst/>
              </a:prstGeom>
            </p:spPr>
          </p:pic>
          <p:sp>
            <p:nvSpPr>
              <p:cNvPr id="158" name="Овал 157"/>
              <p:cNvSpPr/>
              <p:nvPr/>
            </p:nvSpPr>
            <p:spPr>
              <a:xfrm>
                <a:off x="351029" y="6887361"/>
                <a:ext cx="576185" cy="584452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sz="1286"/>
              </a:p>
            </p:txBody>
          </p:sp>
        </p:grpSp>
        <p:sp>
          <p:nvSpPr>
            <p:cNvPr id="156" name="Freeform 317"/>
            <p:cNvSpPr>
              <a:spLocks noEditPoints="1"/>
            </p:cNvSpPr>
            <p:nvPr/>
          </p:nvSpPr>
          <p:spPr bwMode="auto">
            <a:xfrm>
              <a:off x="346669" y="7025612"/>
              <a:ext cx="628033" cy="343026"/>
            </a:xfrm>
            <a:custGeom>
              <a:avLst/>
              <a:gdLst>
                <a:gd name="T0" fmla="*/ 289 w 854"/>
                <a:gd name="T1" fmla="*/ 240 h 440"/>
                <a:gd name="T2" fmla="*/ 202 w 854"/>
                <a:gd name="T3" fmla="*/ 202 h 440"/>
                <a:gd name="T4" fmla="*/ 173 w 854"/>
                <a:gd name="T5" fmla="*/ 343 h 440"/>
                <a:gd name="T6" fmla="*/ 212 w 854"/>
                <a:gd name="T7" fmla="*/ 287 h 440"/>
                <a:gd name="T8" fmla="*/ 97 w 854"/>
                <a:gd name="T9" fmla="*/ 202 h 440"/>
                <a:gd name="T10" fmla="*/ 9 w 854"/>
                <a:gd name="T11" fmla="*/ 243 h 440"/>
                <a:gd name="T12" fmla="*/ 127 w 854"/>
                <a:gd name="T13" fmla="*/ 343 h 440"/>
                <a:gd name="T14" fmla="*/ 97 w 854"/>
                <a:gd name="T15" fmla="*/ 202 h 440"/>
                <a:gd name="T16" fmla="*/ 130 w 854"/>
                <a:gd name="T17" fmla="*/ 237 h 440"/>
                <a:gd name="T18" fmla="*/ 135 w 854"/>
                <a:gd name="T19" fmla="*/ 343 h 440"/>
                <a:gd name="T20" fmla="*/ 164 w 854"/>
                <a:gd name="T21" fmla="*/ 343 h 440"/>
                <a:gd name="T22" fmla="*/ 169 w 854"/>
                <a:gd name="T23" fmla="*/ 237 h 440"/>
                <a:gd name="T24" fmla="*/ 116 w 854"/>
                <a:gd name="T25" fmla="*/ 180 h 440"/>
                <a:gd name="T26" fmla="*/ 150 w 854"/>
                <a:gd name="T27" fmla="*/ 219 h 440"/>
                <a:gd name="T28" fmla="*/ 183 w 854"/>
                <a:gd name="T29" fmla="*/ 180 h 440"/>
                <a:gd name="T30" fmla="*/ 207 w 854"/>
                <a:gd name="T31" fmla="*/ 101 h 440"/>
                <a:gd name="T32" fmla="*/ 92 w 854"/>
                <a:gd name="T33" fmla="*/ 101 h 440"/>
                <a:gd name="T34" fmla="*/ 116 w 854"/>
                <a:gd name="T35" fmla="*/ 180 h 440"/>
                <a:gd name="T36" fmla="*/ 830 w 854"/>
                <a:gd name="T37" fmla="*/ 228 h 440"/>
                <a:gd name="T38" fmla="*/ 766 w 854"/>
                <a:gd name="T39" fmla="*/ 234 h 440"/>
                <a:gd name="T40" fmla="*/ 724 w 854"/>
                <a:gd name="T41" fmla="*/ 320 h 440"/>
                <a:gd name="T42" fmla="*/ 854 w 854"/>
                <a:gd name="T43" fmla="*/ 329 h 440"/>
                <a:gd name="T44" fmla="*/ 749 w 854"/>
                <a:gd name="T45" fmla="*/ 186 h 440"/>
                <a:gd name="T46" fmla="*/ 796 w 854"/>
                <a:gd name="T47" fmla="*/ 164 h 440"/>
                <a:gd name="T48" fmla="*/ 721 w 854"/>
                <a:gd name="T49" fmla="*/ 36 h 440"/>
                <a:gd name="T50" fmla="*/ 662 w 854"/>
                <a:gd name="T51" fmla="*/ 95 h 440"/>
                <a:gd name="T52" fmla="*/ 689 w 854"/>
                <a:gd name="T53" fmla="*/ 182 h 440"/>
                <a:gd name="T54" fmla="*/ 681 w 854"/>
                <a:gd name="T55" fmla="*/ 201 h 440"/>
                <a:gd name="T56" fmla="*/ 757 w 854"/>
                <a:gd name="T57" fmla="*/ 201 h 440"/>
                <a:gd name="T58" fmla="*/ 672 w 854"/>
                <a:gd name="T59" fmla="*/ 234 h 440"/>
                <a:gd name="T60" fmla="*/ 608 w 854"/>
                <a:gd name="T61" fmla="*/ 228 h 440"/>
                <a:gd name="T62" fmla="*/ 593 w 854"/>
                <a:gd name="T63" fmla="*/ 248 h 440"/>
                <a:gd name="T64" fmla="*/ 648 w 854"/>
                <a:gd name="T65" fmla="*/ 287 h 440"/>
                <a:gd name="T66" fmla="*/ 719 w 854"/>
                <a:gd name="T67" fmla="*/ 345 h 440"/>
                <a:gd name="T68" fmla="*/ 658 w 854"/>
                <a:gd name="T69" fmla="*/ 245 h 440"/>
                <a:gd name="T70" fmla="*/ 430 w 854"/>
                <a:gd name="T71" fmla="*/ 263 h 440"/>
                <a:gd name="T72" fmla="*/ 419 w 854"/>
                <a:gd name="T73" fmla="*/ 310 h 440"/>
                <a:gd name="T74" fmla="*/ 427 w 854"/>
                <a:gd name="T75" fmla="*/ 440 h 440"/>
                <a:gd name="T76" fmla="*/ 441 w 854"/>
                <a:gd name="T77" fmla="*/ 310 h 440"/>
                <a:gd name="T78" fmla="*/ 430 w 854"/>
                <a:gd name="T79" fmla="*/ 263 h 440"/>
                <a:gd name="T80" fmla="*/ 379 w 854"/>
                <a:gd name="T81" fmla="*/ 213 h 440"/>
                <a:gd name="T82" fmla="*/ 481 w 854"/>
                <a:gd name="T83" fmla="*/ 213 h 440"/>
                <a:gd name="T84" fmla="*/ 478 w 854"/>
                <a:gd name="T85" fmla="*/ 186 h 440"/>
                <a:gd name="T86" fmla="*/ 430 w 854"/>
                <a:gd name="T87" fmla="*/ 0 h 440"/>
                <a:gd name="T88" fmla="*/ 382 w 854"/>
                <a:gd name="T89" fmla="*/ 186 h 440"/>
                <a:gd name="T90" fmla="*/ 354 w 854"/>
                <a:gd name="T91" fmla="*/ 233 h 440"/>
                <a:gd name="T92" fmla="*/ 249 w 854"/>
                <a:gd name="T93" fmla="*/ 269 h 440"/>
                <a:gd name="T94" fmla="*/ 219 w 854"/>
                <a:gd name="T95" fmla="*/ 340 h 440"/>
                <a:gd name="T96" fmla="*/ 397 w 854"/>
                <a:gd name="T97" fmla="*/ 439 h 440"/>
                <a:gd name="T98" fmla="*/ 354 w 854"/>
                <a:gd name="T99" fmla="*/ 233 h 440"/>
                <a:gd name="T100" fmla="*/ 612 w 854"/>
                <a:gd name="T101" fmla="*/ 269 h 440"/>
                <a:gd name="T102" fmla="*/ 506 w 854"/>
                <a:gd name="T103" fmla="*/ 233 h 440"/>
                <a:gd name="T104" fmla="*/ 464 w 854"/>
                <a:gd name="T105" fmla="*/ 439 h 440"/>
                <a:gd name="T106" fmla="*/ 641 w 854"/>
                <a:gd name="T107" fmla="*/ 340 h 4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854" h="440">
                  <a:moveTo>
                    <a:pt x="243" y="256"/>
                  </a:moveTo>
                  <a:cubicBezTo>
                    <a:pt x="250" y="254"/>
                    <a:pt x="269" y="247"/>
                    <a:pt x="289" y="240"/>
                  </a:cubicBezTo>
                  <a:cubicBezTo>
                    <a:pt x="286" y="235"/>
                    <a:pt x="282" y="230"/>
                    <a:pt x="274" y="227"/>
                  </a:cubicBezTo>
                  <a:cubicBezTo>
                    <a:pt x="264" y="223"/>
                    <a:pt x="208" y="204"/>
                    <a:pt x="202" y="202"/>
                  </a:cubicBezTo>
                  <a:cubicBezTo>
                    <a:pt x="198" y="201"/>
                    <a:pt x="195" y="199"/>
                    <a:pt x="193" y="198"/>
                  </a:cubicBezTo>
                  <a:cubicBezTo>
                    <a:pt x="173" y="343"/>
                    <a:pt x="173" y="343"/>
                    <a:pt x="173" y="343"/>
                  </a:cubicBezTo>
                  <a:cubicBezTo>
                    <a:pt x="184" y="343"/>
                    <a:pt x="195" y="342"/>
                    <a:pt x="204" y="341"/>
                  </a:cubicBezTo>
                  <a:cubicBezTo>
                    <a:pt x="209" y="293"/>
                    <a:pt x="211" y="290"/>
                    <a:pt x="212" y="287"/>
                  </a:cubicBezTo>
                  <a:cubicBezTo>
                    <a:pt x="218" y="272"/>
                    <a:pt x="228" y="262"/>
                    <a:pt x="243" y="256"/>
                  </a:cubicBezTo>
                  <a:close/>
                  <a:moveTo>
                    <a:pt x="97" y="202"/>
                  </a:moveTo>
                  <a:cubicBezTo>
                    <a:pt x="91" y="204"/>
                    <a:pt x="35" y="223"/>
                    <a:pt x="25" y="227"/>
                  </a:cubicBezTo>
                  <a:cubicBezTo>
                    <a:pt x="15" y="231"/>
                    <a:pt x="11" y="237"/>
                    <a:pt x="9" y="243"/>
                  </a:cubicBezTo>
                  <a:cubicBezTo>
                    <a:pt x="7" y="248"/>
                    <a:pt x="0" y="325"/>
                    <a:pt x="0" y="325"/>
                  </a:cubicBezTo>
                  <a:cubicBezTo>
                    <a:pt x="0" y="325"/>
                    <a:pt x="40" y="341"/>
                    <a:pt x="127" y="343"/>
                  </a:cubicBezTo>
                  <a:cubicBezTo>
                    <a:pt x="106" y="198"/>
                    <a:pt x="106" y="198"/>
                    <a:pt x="106" y="198"/>
                  </a:cubicBezTo>
                  <a:cubicBezTo>
                    <a:pt x="104" y="199"/>
                    <a:pt x="101" y="201"/>
                    <a:pt x="97" y="202"/>
                  </a:cubicBezTo>
                  <a:close/>
                  <a:moveTo>
                    <a:pt x="150" y="222"/>
                  </a:moveTo>
                  <a:cubicBezTo>
                    <a:pt x="130" y="237"/>
                    <a:pt x="130" y="237"/>
                    <a:pt x="130" y="237"/>
                  </a:cubicBezTo>
                  <a:cubicBezTo>
                    <a:pt x="142" y="255"/>
                    <a:pt x="142" y="255"/>
                    <a:pt x="142" y="255"/>
                  </a:cubicBezTo>
                  <a:cubicBezTo>
                    <a:pt x="135" y="343"/>
                    <a:pt x="135" y="343"/>
                    <a:pt x="135" y="343"/>
                  </a:cubicBezTo>
                  <a:cubicBezTo>
                    <a:pt x="139" y="343"/>
                    <a:pt x="143" y="344"/>
                    <a:pt x="147" y="344"/>
                  </a:cubicBezTo>
                  <a:cubicBezTo>
                    <a:pt x="153" y="344"/>
                    <a:pt x="159" y="343"/>
                    <a:pt x="164" y="343"/>
                  </a:cubicBezTo>
                  <a:cubicBezTo>
                    <a:pt x="157" y="255"/>
                    <a:pt x="157" y="255"/>
                    <a:pt x="157" y="255"/>
                  </a:cubicBezTo>
                  <a:cubicBezTo>
                    <a:pt x="169" y="237"/>
                    <a:pt x="169" y="237"/>
                    <a:pt x="169" y="237"/>
                  </a:cubicBezTo>
                  <a:lnTo>
                    <a:pt x="150" y="222"/>
                  </a:lnTo>
                  <a:close/>
                  <a:moveTo>
                    <a:pt x="116" y="180"/>
                  </a:moveTo>
                  <a:cubicBezTo>
                    <a:pt x="116" y="183"/>
                    <a:pt x="116" y="186"/>
                    <a:pt x="115" y="189"/>
                  </a:cubicBezTo>
                  <a:cubicBezTo>
                    <a:pt x="117" y="191"/>
                    <a:pt x="131" y="206"/>
                    <a:pt x="150" y="219"/>
                  </a:cubicBezTo>
                  <a:cubicBezTo>
                    <a:pt x="168" y="206"/>
                    <a:pt x="182" y="192"/>
                    <a:pt x="185" y="189"/>
                  </a:cubicBezTo>
                  <a:cubicBezTo>
                    <a:pt x="183" y="186"/>
                    <a:pt x="183" y="183"/>
                    <a:pt x="183" y="180"/>
                  </a:cubicBezTo>
                  <a:cubicBezTo>
                    <a:pt x="183" y="170"/>
                    <a:pt x="183" y="170"/>
                    <a:pt x="183" y="170"/>
                  </a:cubicBezTo>
                  <a:cubicBezTo>
                    <a:pt x="197" y="151"/>
                    <a:pt x="207" y="122"/>
                    <a:pt x="207" y="101"/>
                  </a:cubicBezTo>
                  <a:cubicBezTo>
                    <a:pt x="207" y="66"/>
                    <a:pt x="181" y="43"/>
                    <a:pt x="150" y="43"/>
                  </a:cubicBezTo>
                  <a:cubicBezTo>
                    <a:pt x="118" y="43"/>
                    <a:pt x="92" y="66"/>
                    <a:pt x="92" y="101"/>
                  </a:cubicBezTo>
                  <a:cubicBezTo>
                    <a:pt x="92" y="122"/>
                    <a:pt x="102" y="151"/>
                    <a:pt x="116" y="170"/>
                  </a:cubicBezTo>
                  <a:lnTo>
                    <a:pt x="116" y="180"/>
                  </a:lnTo>
                  <a:close/>
                  <a:moveTo>
                    <a:pt x="844" y="242"/>
                  </a:moveTo>
                  <a:cubicBezTo>
                    <a:pt x="842" y="237"/>
                    <a:pt x="839" y="232"/>
                    <a:pt x="830" y="228"/>
                  </a:cubicBezTo>
                  <a:cubicBezTo>
                    <a:pt x="823" y="226"/>
                    <a:pt x="797" y="217"/>
                    <a:pt x="780" y="211"/>
                  </a:cubicBezTo>
                  <a:cubicBezTo>
                    <a:pt x="766" y="234"/>
                    <a:pt x="766" y="234"/>
                    <a:pt x="766" y="234"/>
                  </a:cubicBezTo>
                  <a:cubicBezTo>
                    <a:pt x="780" y="245"/>
                    <a:pt x="780" y="245"/>
                    <a:pt x="780" y="245"/>
                  </a:cubicBezTo>
                  <a:cubicBezTo>
                    <a:pt x="724" y="320"/>
                    <a:pt x="724" y="320"/>
                    <a:pt x="724" y="320"/>
                  </a:cubicBezTo>
                  <a:cubicBezTo>
                    <a:pt x="724" y="345"/>
                    <a:pt x="724" y="345"/>
                    <a:pt x="724" y="345"/>
                  </a:cubicBezTo>
                  <a:cubicBezTo>
                    <a:pt x="767" y="345"/>
                    <a:pt x="816" y="339"/>
                    <a:pt x="854" y="329"/>
                  </a:cubicBezTo>
                  <a:cubicBezTo>
                    <a:pt x="853" y="288"/>
                    <a:pt x="845" y="243"/>
                    <a:pt x="844" y="242"/>
                  </a:cubicBezTo>
                  <a:close/>
                  <a:moveTo>
                    <a:pt x="749" y="186"/>
                  </a:moveTo>
                  <a:cubicBezTo>
                    <a:pt x="749" y="183"/>
                    <a:pt x="749" y="183"/>
                    <a:pt x="749" y="183"/>
                  </a:cubicBezTo>
                  <a:cubicBezTo>
                    <a:pt x="764" y="181"/>
                    <a:pt x="783" y="176"/>
                    <a:pt x="796" y="164"/>
                  </a:cubicBezTo>
                  <a:cubicBezTo>
                    <a:pt x="796" y="164"/>
                    <a:pt x="780" y="143"/>
                    <a:pt x="780" y="95"/>
                  </a:cubicBezTo>
                  <a:cubicBezTo>
                    <a:pt x="780" y="61"/>
                    <a:pt x="760" y="37"/>
                    <a:pt x="721" y="36"/>
                  </a:cubicBezTo>
                  <a:cubicBezTo>
                    <a:pt x="721" y="36"/>
                    <a:pt x="721" y="36"/>
                    <a:pt x="721" y="36"/>
                  </a:cubicBezTo>
                  <a:cubicBezTo>
                    <a:pt x="682" y="37"/>
                    <a:pt x="662" y="61"/>
                    <a:pt x="662" y="95"/>
                  </a:cubicBezTo>
                  <a:cubicBezTo>
                    <a:pt x="662" y="143"/>
                    <a:pt x="645" y="164"/>
                    <a:pt x="645" y="164"/>
                  </a:cubicBezTo>
                  <a:cubicBezTo>
                    <a:pt x="658" y="175"/>
                    <a:pt x="675" y="180"/>
                    <a:pt x="689" y="182"/>
                  </a:cubicBezTo>
                  <a:cubicBezTo>
                    <a:pt x="689" y="186"/>
                    <a:pt x="689" y="186"/>
                    <a:pt x="689" y="186"/>
                  </a:cubicBezTo>
                  <a:cubicBezTo>
                    <a:pt x="689" y="192"/>
                    <a:pt x="687" y="197"/>
                    <a:pt x="681" y="201"/>
                  </a:cubicBezTo>
                  <a:cubicBezTo>
                    <a:pt x="722" y="314"/>
                    <a:pt x="722" y="314"/>
                    <a:pt x="722" y="314"/>
                  </a:cubicBezTo>
                  <a:cubicBezTo>
                    <a:pt x="757" y="201"/>
                    <a:pt x="757" y="201"/>
                    <a:pt x="757" y="201"/>
                  </a:cubicBezTo>
                  <a:cubicBezTo>
                    <a:pt x="751" y="197"/>
                    <a:pt x="749" y="192"/>
                    <a:pt x="749" y="186"/>
                  </a:cubicBezTo>
                  <a:close/>
                  <a:moveTo>
                    <a:pt x="672" y="234"/>
                  </a:moveTo>
                  <a:cubicBezTo>
                    <a:pt x="658" y="211"/>
                    <a:pt x="658" y="211"/>
                    <a:pt x="658" y="211"/>
                  </a:cubicBezTo>
                  <a:cubicBezTo>
                    <a:pt x="641" y="217"/>
                    <a:pt x="615" y="226"/>
                    <a:pt x="608" y="228"/>
                  </a:cubicBezTo>
                  <a:cubicBezTo>
                    <a:pt x="599" y="232"/>
                    <a:pt x="596" y="237"/>
                    <a:pt x="594" y="242"/>
                  </a:cubicBezTo>
                  <a:cubicBezTo>
                    <a:pt x="594" y="242"/>
                    <a:pt x="593" y="244"/>
                    <a:pt x="593" y="248"/>
                  </a:cubicBezTo>
                  <a:cubicBezTo>
                    <a:pt x="604" y="252"/>
                    <a:pt x="613" y="255"/>
                    <a:pt x="617" y="256"/>
                  </a:cubicBezTo>
                  <a:cubicBezTo>
                    <a:pt x="632" y="262"/>
                    <a:pt x="642" y="272"/>
                    <a:pt x="648" y="287"/>
                  </a:cubicBezTo>
                  <a:cubicBezTo>
                    <a:pt x="649" y="290"/>
                    <a:pt x="651" y="293"/>
                    <a:pt x="656" y="341"/>
                  </a:cubicBezTo>
                  <a:cubicBezTo>
                    <a:pt x="677" y="344"/>
                    <a:pt x="699" y="345"/>
                    <a:pt x="719" y="345"/>
                  </a:cubicBezTo>
                  <a:cubicBezTo>
                    <a:pt x="719" y="320"/>
                    <a:pt x="719" y="320"/>
                    <a:pt x="719" y="320"/>
                  </a:cubicBezTo>
                  <a:cubicBezTo>
                    <a:pt x="658" y="245"/>
                    <a:pt x="658" y="245"/>
                    <a:pt x="658" y="245"/>
                  </a:cubicBezTo>
                  <a:lnTo>
                    <a:pt x="672" y="234"/>
                  </a:lnTo>
                  <a:close/>
                  <a:moveTo>
                    <a:pt x="430" y="263"/>
                  </a:moveTo>
                  <a:cubicBezTo>
                    <a:pt x="401" y="284"/>
                    <a:pt x="401" y="284"/>
                    <a:pt x="401" y="284"/>
                  </a:cubicBezTo>
                  <a:cubicBezTo>
                    <a:pt x="419" y="310"/>
                    <a:pt x="419" y="310"/>
                    <a:pt x="419" y="310"/>
                  </a:cubicBezTo>
                  <a:cubicBezTo>
                    <a:pt x="409" y="439"/>
                    <a:pt x="409" y="439"/>
                    <a:pt x="409" y="439"/>
                  </a:cubicBezTo>
                  <a:cubicBezTo>
                    <a:pt x="415" y="440"/>
                    <a:pt x="421" y="440"/>
                    <a:pt x="427" y="440"/>
                  </a:cubicBezTo>
                  <a:cubicBezTo>
                    <a:pt x="435" y="440"/>
                    <a:pt x="443" y="440"/>
                    <a:pt x="451" y="439"/>
                  </a:cubicBezTo>
                  <a:cubicBezTo>
                    <a:pt x="441" y="310"/>
                    <a:pt x="441" y="310"/>
                    <a:pt x="441" y="310"/>
                  </a:cubicBezTo>
                  <a:cubicBezTo>
                    <a:pt x="459" y="284"/>
                    <a:pt x="459" y="284"/>
                    <a:pt x="459" y="284"/>
                  </a:cubicBezTo>
                  <a:lnTo>
                    <a:pt x="430" y="263"/>
                  </a:lnTo>
                  <a:close/>
                  <a:moveTo>
                    <a:pt x="382" y="200"/>
                  </a:moveTo>
                  <a:cubicBezTo>
                    <a:pt x="382" y="205"/>
                    <a:pt x="381" y="209"/>
                    <a:pt x="379" y="213"/>
                  </a:cubicBezTo>
                  <a:cubicBezTo>
                    <a:pt x="383" y="217"/>
                    <a:pt x="403" y="239"/>
                    <a:pt x="430" y="257"/>
                  </a:cubicBezTo>
                  <a:cubicBezTo>
                    <a:pt x="457" y="239"/>
                    <a:pt x="477" y="218"/>
                    <a:pt x="481" y="213"/>
                  </a:cubicBezTo>
                  <a:cubicBezTo>
                    <a:pt x="479" y="209"/>
                    <a:pt x="478" y="205"/>
                    <a:pt x="478" y="200"/>
                  </a:cubicBezTo>
                  <a:cubicBezTo>
                    <a:pt x="478" y="186"/>
                    <a:pt x="478" y="186"/>
                    <a:pt x="478" y="186"/>
                  </a:cubicBezTo>
                  <a:cubicBezTo>
                    <a:pt x="500" y="158"/>
                    <a:pt x="514" y="115"/>
                    <a:pt x="514" y="84"/>
                  </a:cubicBezTo>
                  <a:cubicBezTo>
                    <a:pt x="514" y="34"/>
                    <a:pt x="476" y="0"/>
                    <a:pt x="430" y="0"/>
                  </a:cubicBezTo>
                  <a:cubicBezTo>
                    <a:pt x="384" y="0"/>
                    <a:pt x="346" y="34"/>
                    <a:pt x="346" y="84"/>
                  </a:cubicBezTo>
                  <a:cubicBezTo>
                    <a:pt x="346" y="115"/>
                    <a:pt x="360" y="158"/>
                    <a:pt x="382" y="186"/>
                  </a:cubicBezTo>
                  <a:lnTo>
                    <a:pt x="382" y="200"/>
                  </a:lnTo>
                  <a:close/>
                  <a:moveTo>
                    <a:pt x="354" y="233"/>
                  </a:moveTo>
                  <a:cubicBezTo>
                    <a:pt x="349" y="235"/>
                    <a:pt x="319" y="245"/>
                    <a:pt x="292" y="254"/>
                  </a:cubicBezTo>
                  <a:cubicBezTo>
                    <a:pt x="272" y="261"/>
                    <a:pt x="255" y="267"/>
                    <a:pt x="249" y="269"/>
                  </a:cubicBezTo>
                  <a:cubicBezTo>
                    <a:pt x="234" y="275"/>
                    <a:pt x="228" y="284"/>
                    <a:pt x="225" y="292"/>
                  </a:cubicBezTo>
                  <a:cubicBezTo>
                    <a:pt x="223" y="296"/>
                    <a:pt x="221" y="317"/>
                    <a:pt x="219" y="340"/>
                  </a:cubicBezTo>
                  <a:cubicBezTo>
                    <a:pt x="215" y="374"/>
                    <a:pt x="212" y="413"/>
                    <a:pt x="212" y="413"/>
                  </a:cubicBezTo>
                  <a:cubicBezTo>
                    <a:pt x="212" y="413"/>
                    <a:pt x="269" y="436"/>
                    <a:pt x="397" y="439"/>
                  </a:cubicBezTo>
                  <a:cubicBezTo>
                    <a:pt x="367" y="226"/>
                    <a:pt x="367" y="226"/>
                    <a:pt x="367" y="226"/>
                  </a:cubicBezTo>
                  <a:cubicBezTo>
                    <a:pt x="363" y="229"/>
                    <a:pt x="359" y="231"/>
                    <a:pt x="354" y="233"/>
                  </a:cubicBezTo>
                  <a:close/>
                  <a:moveTo>
                    <a:pt x="635" y="292"/>
                  </a:moveTo>
                  <a:cubicBezTo>
                    <a:pt x="632" y="284"/>
                    <a:pt x="626" y="275"/>
                    <a:pt x="612" y="269"/>
                  </a:cubicBezTo>
                  <a:cubicBezTo>
                    <a:pt x="608" y="268"/>
                    <a:pt x="600" y="265"/>
                    <a:pt x="590" y="262"/>
                  </a:cubicBezTo>
                  <a:cubicBezTo>
                    <a:pt x="561" y="251"/>
                    <a:pt x="513" y="235"/>
                    <a:pt x="506" y="233"/>
                  </a:cubicBezTo>
                  <a:cubicBezTo>
                    <a:pt x="501" y="231"/>
                    <a:pt x="497" y="229"/>
                    <a:pt x="493" y="226"/>
                  </a:cubicBezTo>
                  <a:cubicBezTo>
                    <a:pt x="464" y="439"/>
                    <a:pt x="464" y="439"/>
                    <a:pt x="464" y="439"/>
                  </a:cubicBezTo>
                  <a:cubicBezTo>
                    <a:pt x="588" y="435"/>
                    <a:pt x="648" y="413"/>
                    <a:pt x="648" y="413"/>
                  </a:cubicBezTo>
                  <a:cubicBezTo>
                    <a:pt x="648" y="413"/>
                    <a:pt x="645" y="374"/>
                    <a:pt x="641" y="340"/>
                  </a:cubicBezTo>
                  <a:cubicBezTo>
                    <a:pt x="639" y="316"/>
                    <a:pt x="637" y="296"/>
                    <a:pt x="635" y="292"/>
                  </a:cubicBezTo>
                  <a:close/>
                </a:path>
              </a:pathLst>
            </a:custGeom>
            <a:solidFill>
              <a:srgbClr val="E4AA00"/>
            </a:solidFill>
            <a:ln>
              <a:noFill/>
            </a:ln>
            <a:extLst/>
          </p:spPr>
          <p:txBody>
            <a:bodyPr vert="horz" wrap="square" lIns="52006" tIns="26004" rIns="52006" bIns="26004" numCol="1" anchor="t" anchorCtr="0" compatLnSpc="1">
              <a:prstTxWarp prst="textNoShape">
                <a:avLst/>
              </a:prstTxWarp>
            </a:bodyPr>
            <a:lstStyle/>
            <a:p>
              <a:endParaRPr lang="ru-RU" sz="1000" dirty="0">
                <a:solidFill>
                  <a:prstClr val="black"/>
                </a:solidFill>
              </a:endParaRPr>
            </a:p>
          </p:txBody>
        </p:sp>
      </p:grpSp>
      <p:grpSp>
        <p:nvGrpSpPr>
          <p:cNvPr id="3" name="Группа 2"/>
          <p:cNvGrpSpPr/>
          <p:nvPr/>
        </p:nvGrpSpPr>
        <p:grpSpPr>
          <a:xfrm>
            <a:off x="6462429" y="4150327"/>
            <a:ext cx="1158039" cy="1113487"/>
            <a:chOff x="6655816" y="4778361"/>
            <a:chExt cx="900000" cy="900000"/>
          </a:xfrm>
        </p:grpSpPr>
        <p:pic>
          <p:nvPicPr>
            <p:cNvPr id="160" name="Рисунок 159">
              <a:extLst>
                <a:ext uri="{FF2B5EF4-FFF2-40B4-BE49-F238E27FC236}">
                  <a16:creationId xmlns:a16="http://schemas.microsoft.com/office/drawing/2014/main" xmlns="" id="{19FD8DE0-6E8E-4E62-B4A9-5592D006940E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>
              <a:off x="6655816" y="4778361"/>
              <a:ext cx="900000" cy="900000"/>
            </a:xfrm>
            <a:prstGeom prst="rect">
              <a:avLst/>
            </a:prstGeom>
          </p:spPr>
        </p:pic>
        <p:sp>
          <p:nvSpPr>
            <p:cNvPr id="161" name="Овал 160"/>
            <p:cNvSpPr/>
            <p:nvPr/>
          </p:nvSpPr>
          <p:spPr>
            <a:xfrm>
              <a:off x="6788938" y="4923840"/>
              <a:ext cx="624107" cy="635773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286"/>
            </a:p>
          </p:txBody>
        </p:sp>
        <p:grpSp>
          <p:nvGrpSpPr>
            <p:cNvPr id="162" name="Группа 161"/>
            <p:cNvGrpSpPr/>
            <p:nvPr/>
          </p:nvGrpSpPr>
          <p:grpSpPr>
            <a:xfrm>
              <a:off x="6804260" y="5006153"/>
              <a:ext cx="593461" cy="384754"/>
              <a:chOff x="-1918630" y="10124720"/>
              <a:chExt cx="685800" cy="413918"/>
            </a:xfrm>
            <a:solidFill>
              <a:srgbClr val="E4AA00"/>
            </a:solidFill>
          </p:grpSpPr>
          <p:sp>
            <p:nvSpPr>
              <p:cNvPr id="163" name="Freeform: Shape 991">
                <a:extLst>
                  <a:ext uri="{FF2B5EF4-FFF2-40B4-BE49-F238E27FC236}">
                    <a16:creationId xmlns:a16="http://schemas.microsoft.com/office/drawing/2014/main" xmlns="" id="{AF772C54-FF2F-40C3-9348-EA44276D12CF}"/>
                  </a:ext>
                </a:extLst>
              </p:cNvPr>
              <p:cNvSpPr/>
              <p:nvPr/>
            </p:nvSpPr>
            <p:spPr>
              <a:xfrm>
                <a:off x="-1918630" y="10298297"/>
                <a:ext cx="213360" cy="240339"/>
              </a:xfrm>
              <a:custGeom>
                <a:avLst/>
                <a:gdLst>
                  <a:gd name="connsiteX0" fmla="*/ 25518 w 102070"/>
                  <a:gd name="connsiteY0" fmla="*/ 93564 h 153105"/>
                  <a:gd name="connsiteX1" fmla="*/ 42529 w 102070"/>
                  <a:gd name="connsiteY1" fmla="*/ 93564 h 153105"/>
                  <a:gd name="connsiteX2" fmla="*/ 42529 w 102070"/>
                  <a:gd name="connsiteY2" fmla="*/ 110576 h 153105"/>
                  <a:gd name="connsiteX3" fmla="*/ 25518 w 102070"/>
                  <a:gd name="connsiteY3" fmla="*/ 110576 h 153105"/>
                  <a:gd name="connsiteX4" fmla="*/ 25518 w 102070"/>
                  <a:gd name="connsiteY4" fmla="*/ 93564 h 153105"/>
                  <a:gd name="connsiteX5" fmla="*/ 25518 w 102070"/>
                  <a:gd name="connsiteY5" fmla="*/ 59541 h 153105"/>
                  <a:gd name="connsiteX6" fmla="*/ 42529 w 102070"/>
                  <a:gd name="connsiteY6" fmla="*/ 59541 h 153105"/>
                  <a:gd name="connsiteX7" fmla="*/ 42529 w 102070"/>
                  <a:gd name="connsiteY7" fmla="*/ 76553 h 153105"/>
                  <a:gd name="connsiteX8" fmla="*/ 25518 w 102070"/>
                  <a:gd name="connsiteY8" fmla="*/ 76553 h 153105"/>
                  <a:gd name="connsiteX9" fmla="*/ 25518 w 102070"/>
                  <a:gd name="connsiteY9" fmla="*/ 59541 h 153105"/>
                  <a:gd name="connsiteX10" fmla="*/ 25518 w 102070"/>
                  <a:gd name="connsiteY10" fmla="*/ 25518 h 153105"/>
                  <a:gd name="connsiteX11" fmla="*/ 42529 w 102070"/>
                  <a:gd name="connsiteY11" fmla="*/ 25518 h 153105"/>
                  <a:gd name="connsiteX12" fmla="*/ 42529 w 102070"/>
                  <a:gd name="connsiteY12" fmla="*/ 42529 h 153105"/>
                  <a:gd name="connsiteX13" fmla="*/ 25518 w 102070"/>
                  <a:gd name="connsiteY13" fmla="*/ 42529 h 153105"/>
                  <a:gd name="connsiteX14" fmla="*/ 25518 w 102070"/>
                  <a:gd name="connsiteY14" fmla="*/ 25518 h 153105"/>
                  <a:gd name="connsiteX15" fmla="*/ 59541 w 102070"/>
                  <a:gd name="connsiteY15" fmla="*/ 93564 h 153105"/>
                  <a:gd name="connsiteX16" fmla="*/ 76553 w 102070"/>
                  <a:gd name="connsiteY16" fmla="*/ 93564 h 153105"/>
                  <a:gd name="connsiteX17" fmla="*/ 76553 w 102070"/>
                  <a:gd name="connsiteY17" fmla="*/ 110576 h 153105"/>
                  <a:gd name="connsiteX18" fmla="*/ 59541 w 102070"/>
                  <a:gd name="connsiteY18" fmla="*/ 110576 h 153105"/>
                  <a:gd name="connsiteX19" fmla="*/ 59541 w 102070"/>
                  <a:gd name="connsiteY19" fmla="*/ 93564 h 153105"/>
                  <a:gd name="connsiteX20" fmla="*/ 59541 w 102070"/>
                  <a:gd name="connsiteY20" fmla="*/ 59541 h 153105"/>
                  <a:gd name="connsiteX21" fmla="*/ 76553 w 102070"/>
                  <a:gd name="connsiteY21" fmla="*/ 59541 h 153105"/>
                  <a:gd name="connsiteX22" fmla="*/ 76553 w 102070"/>
                  <a:gd name="connsiteY22" fmla="*/ 76553 h 153105"/>
                  <a:gd name="connsiteX23" fmla="*/ 59541 w 102070"/>
                  <a:gd name="connsiteY23" fmla="*/ 76553 h 153105"/>
                  <a:gd name="connsiteX24" fmla="*/ 59541 w 102070"/>
                  <a:gd name="connsiteY24" fmla="*/ 59541 h 153105"/>
                  <a:gd name="connsiteX25" fmla="*/ 59541 w 102070"/>
                  <a:gd name="connsiteY25" fmla="*/ 25518 h 153105"/>
                  <a:gd name="connsiteX26" fmla="*/ 76553 w 102070"/>
                  <a:gd name="connsiteY26" fmla="*/ 25518 h 153105"/>
                  <a:gd name="connsiteX27" fmla="*/ 76553 w 102070"/>
                  <a:gd name="connsiteY27" fmla="*/ 42529 h 153105"/>
                  <a:gd name="connsiteX28" fmla="*/ 59541 w 102070"/>
                  <a:gd name="connsiteY28" fmla="*/ 42529 h 153105"/>
                  <a:gd name="connsiteX29" fmla="*/ 59541 w 102070"/>
                  <a:gd name="connsiteY29" fmla="*/ 25518 h 153105"/>
                  <a:gd name="connsiteX30" fmla="*/ 0 w 102070"/>
                  <a:gd name="connsiteY30" fmla="*/ 153105 h 153105"/>
                  <a:gd name="connsiteX31" fmla="*/ 42529 w 102070"/>
                  <a:gd name="connsiteY31" fmla="*/ 153105 h 153105"/>
                  <a:gd name="connsiteX32" fmla="*/ 42529 w 102070"/>
                  <a:gd name="connsiteY32" fmla="*/ 127588 h 153105"/>
                  <a:gd name="connsiteX33" fmla="*/ 59541 w 102070"/>
                  <a:gd name="connsiteY33" fmla="*/ 127588 h 153105"/>
                  <a:gd name="connsiteX34" fmla="*/ 59541 w 102070"/>
                  <a:gd name="connsiteY34" fmla="*/ 153105 h 153105"/>
                  <a:gd name="connsiteX35" fmla="*/ 102070 w 102070"/>
                  <a:gd name="connsiteY35" fmla="*/ 153105 h 153105"/>
                  <a:gd name="connsiteX36" fmla="*/ 102070 w 102070"/>
                  <a:gd name="connsiteY36" fmla="*/ 0 h 153105"/>
                  <a:gd name="connsiteX37" fmla="*/ 0 w 102070"/>
                  <a:gd name="connsiteY37" fmla="*/ 0 h 153105"/>
                  <a:gd name="connsiteX38" fmla="*/ 0 w 102070"/>
                  <a:gd name="connsiteY38" fmla="*/ 153105 h 1531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</a:cxnLst>
                <a:rect l="l" t="t" r="r" b="b"/>
                <a:pathLst>
                  <a:path w="102070" h="153105">
                    <a:moveTo>
                      <a:pt x="25518" y="93564"/>
                    </a:moveTo>
                    <a:lnTo>
                      <a:pt x="42529" y="93564"/>
                    </a:lnTo>
                    <a:lnTo>
                      <a:pt x="42529" y="110576"/>
                    </a:lnTo>
                    <a:lnTo>
                      <a:pt x="25518" y="110576"/>
                    </a:lnTo>
                    <a:lnTo>
                      <a:pt x="25518" y="93564"/>
                    </a:lnTo>
                    <a:close/>
                    <a:moveTo>
                      <a:pt x="25518" y="59541"/>
                    </a:moveTo>
                    <a:lnTo>
                      <a:pt x="42529" y="59541"/>
                    </a:lnTo>
                    <a:lnTo>
                      <a:pt x="42529" y="76553"/>
                    </a:lnTo>
                    <a:lnTo>
                      <a:pt x="25518" y="76553"/>
                    </a:lnTo>
                    <a:lnTo>
                      <a:pt x="25518" y="59541"/>
                    </a:lnTo>
                    <a:close/>
                    <a:moveTo>
                      <a:pt x="25518" y="25518"/>
                    </a:moveTo>
                    <a:lnTo>
                      <a:pt x="42529" y="25518"/>
                    </a:lnTo>
                    <a:lnTo>
                      <a:pt x="42529" y="42529"/>
                    </a:lnTo>
                    <a:lnTo>
                      <a:pt x="25518" y="42529"/>
                    </a:lnTo>
                    <a:lnTo>
                      <a:pt x="25518" y="25518"/>
                    </a:lnTo>
                    <a:close/>
                    <a:moveTo>
                      <a:pt x="59541" y="93564"/>
                    </a:moveTo>
                    <a:lnTo>
                      <a:pt x="76553" y="93564"/>
                    </a:lnTo>
                    <a:lnTo>
                      <a:pt x="76553" y="110576"/>
                    </a:lnTo>
                    <a:lnTo>
                      <a:pt x="59541" y="110576"/>
                    </a:lnTo>
                    <a:lnTo>
                      <a:pt x="59541" y="93564"/>
                    </a:lnTo>
                    <a:close/>
                    <a:moveTo>
                      <a:pt x="59541" y="59541"/>
                    </a:moveTo>
                    <a:lnTo>
                      <a:pt x="76553" y="59541"/>
                    </a:lnTo>
                    <a:lnTo>
                      <a:pt x="76553" y="76553"/>
                    </a:lnTo>
                    <a:lnTo>
                      <a:pt x="59541" y="76553"/>
                    </a:lnTo>
                    <a:lnTo>
                      <a:pt x="59541" y="59541"/>
                    </a:lnTo>
                    <a:close/>
                    <a:moveTo>
                      <a:pt x="59541" y="25518"/>
                    </a:moveTo>
                    <a:lnTo>
                      <a:pt x="76553" y="25518"/>
                    </a:lnTo>
                    <a:lnTo>
                      <a:pt x="76553" y="42529"/>
                    </a:lnTo>
                    <a:lnTo>
                      <a:pt x="59541" y="42529"/>
                    </a:lnTo>
                    <a:lnTo>
                      <a:pt x="59541" y="25518"/>
                    </a:lnTo>
                    <a:close/>
                    <a:moveTo>
                      <a:pt x="0" y="153105"/>
                    </a:moveTo>
                    <a:lnTo>
                      <a:pt x="42529" y="153105"/>
                    </a:lnTo>
                    <a:lnTo>
                      <a:pt x="42529" y="127588"/>
                    </a:lnTo>
                    <a:lnTo>
                      <a:pt x="59541" y="127588"/>
                    </a:lnTo>
                    <a:lnTo>
                      <a:pt x="59541" y="153105"/>
                    </a:lnTo>
                    <a:lnTo>
                      <a:pt x="102070" y="153105"/>
                    </a:lnTo>
                    <a:lnTo>
                      <a:pt x="102070" y="0"/>
                    </a:lnTo>
                    <a:lnTo>
                      <a:pt x="0" y="0"/>
                    </a:lnTo>
                    <a:lnTo>
                      <a:pt x="0" y="153105"/>
                    </a:lnTo>
                    <a:close/>
                  </a:path>
                </a:pathLst>
              </a:custGeom>
              <a:grpFill/>
              <a:ln w="416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53156">
                  <a:defRPr/>
                </a:pPr>
                <a:endParaRPr lang="en-ID" sz="1429" kern="0" dirty="0">
                  <a:solidFill>
                    <a:srgbClr val="3F3F3F"/>
                  </a:solidFill>
                </a:endParaRPr>
              </a:p>
            </p:txBody>
          </p:sp>
          <p:sp>
            <p:nvSpPr>
              <p:cNvPr id="164" name="Freeform: Shape 992">
                <a:extLst>
                  <a:ext uri="{FF2B5EF4-FFF2-40B4-BE49-F238E27FC236}">
                    <a16:creationId xmlns:a16="http://schemas.microsoft.com/office/drawing/2014/main" xmlns="" id="{4D8AD2C1-60A6-4DD0-8A5C-D8DC1B42DFD2}"/>
                  </a:ext>
                </a:extLst>
              </p:cNvPr>
              <p:cNvSpPr/>
              <p:nvPr/>
            </p:nvSpPr>
            <p:spPr>
              <a:xfrm>
                <a:off x="-1669710" y="10351707"/>
                <a:ext cx="213360" cy="186931"/>
              </a:xfrm>
              <a:custGeom>
                <a:avLst/>
                <a:gdLst>
                  <a:gd name="connsiteX0" fmla="*/ 25518 w 102070"/>
                  <a:gd name="connsiteY0" fmla="*/ 59541 h 119081"/>
                  <a:gd name="connsiteX1" fmla="*/ 42529 w 102070"/>
                  <a:gd name="connsiteY1" fmla="*/ 59541 h 119081"/>
                  <a:gd name="connsiteX2" fmla="*/ 42529 w 102070"/>
                  <a:gd name="connsiteY2" fmla="*/ 76553 h 119081"/>
                  <a:gd name="connsiteX3" fmla="*/ 25518 w 102070"/>
                  <a:gd name="connsiteY3" fmla="*/ 76553 h 119081"/>
                  <a:gd name="connsiteX4" fmla="*/ 25518 w 102070"/>
                  <a:gd name="connsiteY4" fmla="*/ 59541 h 119081"/>
                  <a:gd name="connsiteX5" fmla="*/ 25518 w 102070"/>
                  <a:gd name="connsiteY5" fmla="*/ 25518 h 119081"/>
                  <a:gd name="connsiteX6" fmla="*/ 42529 w 102070"/>
                  <a:gd name="connsiteY6" fmla="*/ 25518 h 119081"/>
                  <a:gd name="connsiteX7" fmla="*/ 42529 w 102070"/>
                  <a:gd name="connsiteY7" fmla="*/ 42529 h 119081"/>
                  <a:gd name="connsiteX8" fmla="*/ 25518 w 102070"/>
                  <a:gd name="connsiteY8" fmla="*/ 42529 h 119081"/>
                  <a:gd name="connsiteX9" fmla="*/ 25518 w 102070"/>
                  <a:gd name="connsiteY9" fmla="*/ 25518 h 119081"/>
                  <a:gd name="connsiteX10" fmla="*/ 59541 w 102070"/>
                  <a:gd name="connsiteY10" fmla="*/ 59541 h 119081"/>
                  <a:gd name="connsiteX11" fmla="*/ 76553 w 102070"/>
                  <a:gd name="connsiteY11" fmla="*/ 59541 h 119081"/>
                  <a:gd name="connsiteX12" fmla="*/ 76553 w 102070"/>
                  <a:gd name="connsiteY12" fmla="*/ 76553 h 119081"/>
                  <a:gd name="connsiteX13" fmla="*/ 59541 w 102070"/>
                  <a:gd name="connsiteY13" fmla="*/ 76553 h 119081"/>
                  <a:gd name="connsiteX14" fmla="*/ 59541 w 102070"/>
                  <a:gd name="connsiteY14" fmla="*/ 59541 h 119081"/>
                  <a:gd name="connsiteX15" fmla="*/ 59541 w 102070"/>
                  <a:gd name="connsiteY15" fmla="*/ 25518 h 119081"/>
                  <a:gd name="connsiteX16" fmla="*/ 76553 w 102070"/>
                  <a:gd name="connsiteY16" fmla="*/ 25518 h 119081"/>
                  <a:gd name="connsiteX17" fmla="*/ 76553 w 102070"/>
                  <a:gd name="connsiteY17" fmla="*/ 42529 h 119081"/>
                  <a:gd name="connsiteX18" fmla="*/ 59541 w 102070"/>
                  <a:gd name="connsiteY18" fmla="*/ 42529 h 119081"/>
                  <a:gd name="connsiteX19" fmla="*/ 59541 w 102070"/>
                  <a:gd name="connsiteY19" fmla="*/ 25518 h 119081"/>
                  <a:gd name="connsiteX20" fmla="*/ 0 w 102070"/>
                  <a:gd name="connsiteY20" fmla="*/ 119082 h 119081"/>
                  <a:gd name="connsiteX21" fmla="*/ 42529 w 102070"/>
                  <a:gd name="connsiteY21" fmla="*/ 119082 h 119081"/>
                  <a:gd name="connsiteX22" fmla="*/ 42529 w 102070"/>
                  <a:gd name="connsiteY22" fmla="*/ 93564 h 119081"/>
                  <a:gd name="connsiteX23" fmla="*/ 59541 w 102070"/>
                  <a:gd name="connsiteY23" fmla="*/ 93564 h 119081"/>
                  <a:gd name="connsiteX24" fmla="*/ 59541 w 102070"/>
                  <a:gd name="connsiteY24" fmla="*/ 119082 h 119081"/>
                  <a:gd name="connsiteX25" fmla="*/ 102070 w 102070"/>
                  <a:gd name="connsiteY25" fmla="*/ 119082 h 119081"/>
                  <a:gd name="connsiteX26" fmla="*/ 102070 w 102070"/>
                  <a:gd name="connsiteY26" fmla="*/ 0 h 119081"/>
                  <a:gd name="connsiteX27" fmla="*/ 0 w 102070"/>
                  <a:gd name="connsiteY27" fmla="*/ 0 h 119081"/>
                  <a:gd name="connsiteX28" fmla="*/ 0 w 102070"/>
                  <a:gd name="connsiteY28" fmla="*/ 119082 h 1190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</a:cxnLst>
                <a:rect l="l" t="t" r="r" b="b"/>
                <a:pathLst>
                  <a:path w="102070" h="119081">
                    <a:moveTo>
                      <a:pt x="25518" y="59541"/>
                    </a:moveTo>
                    <a:lnTo>
                      <a:pt x="42529" y="59541"/>
                    </a:lnTo>
                    <a:lnTo>
                      <a:pt x="42529" y="76553"/>
                    </a:lnTo>
                    <a:lnTo>
                      <a:pt x="25518" y="76553"/>
                    </a:lnTo>
                    <a:lnTo>
                      <a:pt x="25518" y="59541"/>
                    </a:lnTo>
                    <a:close/>
                    <a:moveTo>
                      <a:pt x="25518" y="25518"/>
                    </a:moveTo>
                    <a:lnTo>
                      <a:pt x="42529" y="25518"/>
                    </a:lnTo>
                    <a:lnTo>
                      <a:pt x="42529" y="42529"/>
                    </a:lnTo>
                    <a:lnTo>
                      <a:pt x="25518" y="42529"/>
                    </a:lnTo>
                    <a:lnTo>
                      <a:pt x="25518" y="25518"/>
                    </a:lnTo>
                    <a:close/>
                    <a:moveTo>
                      <a:pt x="59541" y="59541"/>
                    </a:moveTo>
                    <a:lnTo>
                      <a:pt x="76553" y="59541"/>
                    </a:lnTo>
                    <a:lnTo>
                      <a:pt x="76553" y="76553"/>
                    </a:lnTo>
                    <a:lnTo>
                      <a:pt x="59541" y="76553"/>
                    </a:lnTo>
                    <a:lnTo>
                      <a:pt x="59541" y="59541"/>
                    </a:lnTo>
                    <a:close/>
                    <a:moveTo>
                      <a:pt x="59541" y="25518"/>
                    </a:moveTo>
                    <a:lnTo>
                      <a:pt x="76553" y="25518"/>
                    </a:lnTo>
                    <a:lnTo>
                      <a:pt x="76553" y="42529"/>
                    </a:lnTo>
                    <a:lnTo>
                      <a:pt x="59541" y="42529"/>
                    </a:lnTo>
                    <a:lnTo>
                      <a:pt x="59541" y="25518"/>
                    </a:lnTo>
                    <a:close/>
                    <a:moveTo>
                      <a:pt x="0" y="119082"/>
                    </a:moveTo>
                    <a:lnTo>
                      <a:pt x="42529" y="119082"/>
                    </a:lnTo>
                    <a:lnTo>
                      <a:pt x="42529" y="93564"/>
                    </a:lnTo>
                    <a:lnTo>
                      <a:pt x="59541" y="93564"/>
                    </a:lnTo>
                    <a:lnTo>
                      <a:pt x="59541" y="119082"/>
                    </a:lnTo>
                    <a:lnTo>
                      <a:pt x="102070" y="119082"/>
                    </a:lnTo>
                    <a:lnTo>
                      <a:pt x="102070" y="0"/>
                    </a:lnTo>
                    <a:lnTo>
                      <a:pt x="0" y="0"/>
                    </a:lnTo>
                    <a:lnTo>
                      <a:pt x="0" y="119082"/>
                    </a:lnTo>
                    <a:close/>
                  </a:path>
                </a:pathLst>
              </a:custGeom>
              <a:grpFill/>
              <a:ln w="416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53156">
                  <a:defRPr/>
                </a:pPr>
                <a:endParaRPr lang="en-ID" sz="1429" kern="0" dirty="0">
                  <a:solidFill>
                    <a:srgbClr val="3F3F3F"/>
                  </a:solidFill>
                </a:endParaRPr>
              </a:p>
            </p:txBody>
          </p:sp>
          <p:sp>
            <p:nvSpPr>
              <p:cNvPr id="165" name="Freeform: Shape 993">
                <a:extLst>
                  <a:ext uri="{FF2B5EF4-FFF2-40B4-BE49-F238E27FC236}">
                    <a16:creationId xmlns:a16="http://schemas.microsoft.com/office/drawing/2014/main" xmlns="" id="{D2F3EA57-A81F-47B2-88B3-AB8AFD14FBC0}"/>
                  </a:ext>
                </a:extLst>
              </p:cNvPr>
              <p:cNvSpPr/>
              <p:nvPr/>
            </p:nvSpPr>
            <p:spPr>
              <a:xfrm>
                <a:off x="-1446190" y="10138071"/>
                <a:ext cx="213360" cy="400566"/>
              </a:xfrm>
              <a:custGeom>
                <a:avLst/>
                <a:gdLst>
                  <a:gd name="connsiteX0" fmla="*/ 76553 w 102070"/>
                  <a:gd name="connsiteY0" fmla="*/ 46782 h 255175"/>
                  <a:gd name="connsiteX1" fmla="*/ 59541 w 102070"/>
                  <a:gd name="connsiteY1" fmla="*/ 46782 h 255175"/>
                  <a:gd name="connsiteX2" fmla="*/ 59541 w 102070"/>
                  <a:gd name="connsiteY2" fmla="*/ 29770 h 255175"/>
                  <a:gd name="connsiteX3" fmla="*/ 76553 w 102070"/>
                  <a:gd name="connsiteY3" fmla="*/ 29770 h 255175"/>
                  <a:gd name="connsiteX4" fmla="*/ 76553 w 102070"/>
                  <a:gd name="connsiteY4" fmla="*/ 46782 h 255175"/>
                  <a:gd name="connsiteX5" fmla="*/ 76553 w 102070"/>
                  <a:gd name="connsiteY5" fmla="*/ 76553 h 255175"/>
                  <a:gd name="connsiteX6" fmla="*/ 59541 w 102070"/>
                  <a:gd name="connsiteY6" fmla="*/ 76553 h 255175"/>
                  <a:gd name="connsiteX7" fmla="*/ 59541 w 102070"/>
                  <a:gd name="connsiteY7" fmla="*/ 59541 h 255175"/>
                  <a:gd name="connsiteX8" fmla="*/ 76553 w 102070"/>
                  <a:gd name="connsiteY8" fmla="*/ 59541 h 255175"/>
                  <a:gd name="connsiteX9" fmla="*/ 76553 w 102070"/>
                  <a:gd name="connsiteY9" fmla="*/ 76553 h 255175"/>
                  <a:gd name="connsiteX10" fmla="*/ 76553 w 102070"/>
                  <a:gd name="connsiteY10" fmla="*/ 110576 h 255175"/>
                  <a:gd name="connsiteX11" fmla="*/ 59541 w 102070"/>
                  <a:gd name="connsiteY11" fmla="*/ 110576 h 255175"/>
                  <a:gd name="connsiteX12" fmla="*/ 59541 w 102070"/>
                  <a:gd name="connsiteY12" fmla="*/ 93564 h 255175"/>
                  <a:gd name="connsiteX13" fmla="*/ 76553 w 102070"/>
                  <a:gd name="connsiteY13" fmla="*/ 93564 h 255175"/>
                  <a:gd name="connsiteX14" fmla="*/ 76553 w 102070"/>
                  <a:gd name="connsiteY14" fmla="*/ 110576 h 255175"/>
                  <a:gd name="connsiteX15" fmla="*/ 76553 w 102070"/>
                  <a:gd name="connsiteY15" fmla="*/ 144599 h 255175"/>
                  <a:gd name="connsiteX16" fmla="*/ 59541 w 102070"/>
                  <a:gd name="connsiteY16" fmla="*/ 144599 h 255175"/>
                  <a:gd name="connsiteX17" fmla="*/ 59541 w 102070"/>
                  <a:gd name="connsiteY17" fmla="*/ 127588 h 255175"/>
                  <a:gd name="connsiteX18" fmla="*/ 76553 w 102070"/>
                  <a:gd name="connsiteY18" fmla="*/ 127588 h 255175"/>
                  <a:gd name="connsiteX19" fmla="*/ 76553 w 102070"/>
                  <a:gd name="connsiteY19" fmla="*/ 144599 h 255175"/>
                  <a:gd name="connsiteX20" fmla="*/ 76553 w 102070"/>
                  <a:gd name="connsiteY20" fmla="*/ 178623 h 255175"/>
                  <a:gd name="connsiteX21" fmla="*/ 59541 w 102070"/>
                  <a:gd name="connsiteY21" fmla="*/ 178623 h 255175"/>
                  <a:gd name="connsiteX22" fmla="*/ 59541 w 102070"/>
                  <a:gd name="connsiteY22" fmla="*/ 161611 h 255175"/>
                  <a:gd name="connsiteX23" fmla="*/ 76553 w 102070"/>
                  <a:gd name="connsiteY23" fmla="*/ 161611 h 255175"/>
                  <a:gd name="connsiteX24" fmla="*/ 76553 w 102070"/>
                  <a:gd name="connsiteY24" fmla="*/ 178623 h 255175"/>
                  <a:gd name="connsiteX25" fmla="*/ 76553 w 102070"/>
                  <a:gd name="connsiteY25" fmla="*/ 212646 h 255175"/>
                  <a:gd name="connsiteX26" fmla="*/ 59541 w 102070"/>
                  <a:gd name="connsiteY26" fmla="*/ 212646 h 255175"/>
                  <a:gd name="connsiteX27" fmla="*/ 59541 w 102070"/>
                  <a:gd name="connsiteY27" fmla="*/ 195634 h 255175"/>
                  <a:gd name="connsiteX28" fmla="*/ 76553 w 102070"/>
                  <a:gd name="connsiteY28" fmla="*/ 195634 h 255175"/>
                  <a:gd name="connsiteX29" fmla="*/ 76553 w 102070"/>
                  <a:gd name="connsiteY29" fmla="*/ 212646 h 255175"/>
                  <a:gd name="connsiteX30" fmla="*/ 42529 w 102070"/>
                  <a:gd name="connsiteY30" fmla="*/ 46782 h 255175"/>
                  <a:gd name="connsiteX31" fmla="*/ 25518 w 102070"/>
                  <a:gd name="connsiteY31" fmla="*/ 46782 h 255175"/>
                  <a:gd name="connsiteX32" fmla="*/ 25518 w 102070"/>
                  <a:gd name="connsiteY32" fmla="*/ 29770 h 255175"/>
                  <a:gd name="connsiteX33" fmla="*/ 42529 w 102070"/>
                  <a:gd name="connsiteY33" fmla="*/ 29770 h 255175"/>
                  <a:gd name="connsiteX34" fmla="*/ 42529 w 102070"/>
                  <a:gd name="connsiteY34" fmla="*/ 46782 h 255175"/>
                  <a:gd name="connsiteX35" fmla="*/ 42529 w 102070"/>
                  <a:gd name="connsiteY35" fmla="*/ 76553 h 255175"/>
                  <a:gd name="connsiteX36" fmla="*/ 25518 w 102070"/>
                  <a:gd name="connsiteY36" fmla="*/ 76553 h 255175"/>
                  <a:gd name="connsiteX37" fmla="*/ 25518 w 102070"/>
                  <a:gd name="connsiteY37" fmla="*/ 59541 h 255175"/>
                  <a:gd name="connsiteX38" fmla="*/ 42529 w 102070"/>
                  <a:gd name="connsiteY38" fmla="*/ 59541 h 255175"/>
                  <a:gd name="connsiteX39" fmla="*/ 42529 w 102070"/>
                  <a:gd name="connsiteY39" fmla="*/ 76553 h 255175"/>
                  <a:gd name="connsiteX40" fmla="*/ 42529 w 102070"/>
                  <a:gd name="connsiteY40" fmla="*/ 110576 h 255175"/>
                  <a:gd name="connsiteX41" fmla="*/ 25518 w 102070"/>
                  <a:gd name="connsiteY41" fmla="*/ 110576 h 255175"/>
                  <a:gd name="connsiteX42" fmla="*/ 25518 w 102070"/>
                  <a:gd name="connsiteY42" fmla="*/ 93564 h 255175"/>
                  <a:gd name="connsiteX43" fmla="*/ 42529 w 102070"/>
                  <a:gd name="connsiteY43" fmla="*/ 93564 h 255175"/>
                  <a:gd name="connsiteX44" fmla="*/ 42529 w 102070"/>
                  <a:gd name="connsiteY44" fmla="*/ 110576 h 255175"/>
                  <a:gd name="connsiteX45" fmla="*/ 42529 w 102070"/>
                  <a:gd name="connsiteY45" fmla="*/ 144599 h 255175"/>
                  <a:gd name="connsiteX46" fmla="*/ 25518 w 102070"/>
                  <a:gd name="connsiteY46" fmla="*/ 144599 h 255175"/>
                  <a:gd name="connsiteX47" fmla="*/ 25518 w 102070"/>
                  <a:gd name="connsiteY47" fmla="*/ 127588 h 255175"/>
                  <a:gd name="connsiteX48" fmla="*/ 42529 w 102070"/>
                  <a:gd name="connsiteY48" fmla="*/ 127588 h 255175"/>
                  <a:gd name="connsiteX49" fmla="*/ 42529 w 102070"/>
                  <a:gd name="connsiteY49" fmla="*/ 144599 h 255175"/>
                  <a:gd name="connsiteX50" fmla="*/ 42529 w 102070"/>
                  <a:gd name="connsiteY50" fmla="*/ 178623 h 255175"/>
                  <a:gd name="connsiteX51" fmla="*/ 25518 w 102070"/>
                  <a:gd name="connsiteY51" fmla="*/ 178623 h 255175"/>
                  <a:gd name="connsiteX52" fmla="*/ 25518 w 102070"/>
                  <a:gd name="connsiteY52" fmla="*/ 161611 h 255175"/>
                  <a:gd name="connsiteX53" fmla="*/ 42529 w 102070"/>
                  <a:gd name="connsiteY53" fmla="*/ 161611 h 255175"/>
                  <a:gd name="connsiteX54" fmla="*/ 42529 w 102070"/>
                  <a:gd name="connsiteY54" fmla="*/ 178623 h 255175"/>
                  <a:gd name="connsiteX55" fmla="*/ 42529 w 102070"/>
                  <a:gd name="connsiteY55" fmla="*/ 212646 h 255175"/>
                  <a:gd name="connsiteX56" fmla="*/ 25518 w 102070"/>
                  <a:gd name="connsiteY56" fmla="*/ 212646 h 255175"/>
                  <a:gd name="connsiteX57" fmla="*/ 25518 w 102070"/>
                  <a:gd name="connsiteY57" fmla="*/ 195634 h 255175"/>
                  <a:gd name="connsiteX58" fmla="*/ 42529 w 102070"/>
                  <a:gd name="connsiteY58" fmla="*/ 195634 h 255175"/>
                  <a:gd name="connsiteX59" fmla="*/ 42529 w 102070"/>
                  <a:gd name="connsiteY59" fmla="*/ 212646 h 255175"/>
                  <a:gd name="connsiteX60" fmla="*/ 0 w 102070"/>
                  <a:gd name="connsiteY60" fmla="*/ 0 h 255175"/>
                  <a:gd name="connsiteX61" fmla="*/ 0 w 102070"/>
                  <a:gd name="connsiteY61" fmla="*/ 255175 h 255175"/>
                  <a:gd name="connsiteX62" fmla="*/ 42529 w 102070"/>
                  <a:gd name="connsiteY62" fmla="*/ 255175 h 255175"/>
                  <a:gd name="connsiteX63" fmla="*/ 42529 w 102070"/>
                  <a:gd name="connsiteY63" fmla="*/ 229658 h 255175"/>
                  <a:gd name="connsiteX64" fmla="*/ 59541 w 102070"/>
                  <a:gd name="connsiteY64" fmla="*/ 229658 h 255175"/>
                  <a:gd name="connsiteX65" fmla="*/ 59541 w 102070"/>
                  <a:gd name="connsiteY65" fmla="*/ 255175 h 255175"/>
                  <a:gd name="connsiteX66" fmla="*/ 102070 w 102070"/>
                  <a:gd name="connsiteY66" fmla="*/ 255175 h 255175"/>
                  <a:gd name="connsiteX67" fmla="*/ 102070 w 102070"/>
                  <a:gd name="connsiteY67" fmla="*/ 12759 h 255175"/>
                  <a:gd name="connsiteX68" fmla="*/ 0 w 102070"/>
                  <a:gd name="connsiteY68" fmla="*/ 0 h 2551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</a:cxnLst>
                <a:rect l="l" t="t" r="r" b="b"/>
                <a:pathLst>
                  <a:path w="102070" h="255175">
                    <a:moveTo>
                      <a:pt x="76553" y="46782"/>
                    </a:moveTo>
                    <a:lnTo>
                      <a:pt x="59541" y="46782"/>
                    </a:lnTo>
                    <a:lnTo>
                      <a:pt x="59541" y="29770"/>
                    </a:lnTo>
                    <a:lnTo>
                      <a:pt x="76553" y="29770"/>
                    </a:lnTo>
                    <a:lnTo>
                      <a:pt x="76553" y="46782"/>
                    </a:lnTo>
                    <a:close/>
                    <a:moveTo>
                      <a:pt x="76553" y="76553"/>
                    </a:moveTo>
                    <a:lnTo>
                      <a:pt x="59541" y="76553"/>
                    </a:lnTo>
                    <a:lnTo>
                      <a:pt x="59541" y="59541"/>
                    </a:lnTo>
                    <a:lnTo>
                      <a:pt x="76553" y="59541"/>
                    </a:lnTo>
                    <a:lnTo>
                      <a:pt x="76553" y="76553"/>
                    </a:lnTo>
                    <a:close/>
                    <a:moveTo>
                      <a:pt x="76553" y="110576"/>
                    </a:moveTo>
                    <a:lnTo>
                      <a:pt x="59541" y="110576"/>
                    </a:lnTo>
                    <a:lnTo>
                      <a:pt x="59541" y="93564"/>
                    </a:lnTo>
                    <a:lnTo>
                      <a:pt x="76553" y="93564"/>
                    </a:lnTo>
                    <a:lnTo>
                      <a:pt x="76553" y="110576"/>
                    </a:lnTo>
                    <a:close/>
                    <a:moveTo>
                      <a:pt x="76553" y="144599"/>
                    </a:moveTo>
                    <a:lnTo>
                      <a:pt x="59541" y="144599"/>
                    </a:lnTo>
                    <a:lnTo>
                      <a:pt x="59541" y="127588"/>
                    </a:lnTo>
                    <a:lnTo>
                      <a:pt x="76553" y="127588"/>
                    </a:lnTo>
                    <a:lnTo>
                      <a:pt x="76553" y="144599"/>
                    </a:lnTo>
                    <a:close/>
                    <a:moveTo>
                      <a:pt x="76553" y="178623"/>
                    </a:moveTo>
                    <a:lnTo>
                      <a:pt x="59541" y="178623"/>
                    </a:lnTo>
                    <a:lnTo>
                      <a:pt x="59541" y="161611"/>
                    </a:lnTo>
                    <a:lnTo>
                      <a:pt x="76553" y="161611"/>
                    </a:lnTo>
                    <a:lnTo>
                      <a:pt x="76553" y="178623"/>
                    </a:lnTo>
                    <a:close/>
                    <a:moveTo>
                      <a:pt x="76553" y="212646"/>
                    </a:moveTo>
                    <a:lnTo>
                      <a:pt x="59541" y="212646"/>
                    </a:lnTo>
                    <a:lnTo>
                      <a:pt x="59541" y="195634"/>
                    </a:lnTo>
                    <a:lnTo>
                      <a:pt x="76553" y="195634"/>
                    </a:lnTo>
                    <a:lnTo>
                      <a:pt x="76553" y="212646"/>
                    </a:lnTo>
                    <a:close/>
                    <a:moveTo>
                      <a:pt x="42529" y="46782"/>
                    </a:moveTo>
                    <a:lnTo>
                      <a:pt x="25518" y="46782"/>
                    </a:lnTo>
                    <a:lnTo>
                      <a:pt x="25518" y="29770"/>
                    </a:lnTo>
                    <a:lnTo>
                      <a:pt x="42529" y="29770"/>
                    </a:lnTo>
                    <a:lnTo>
                      <a:pt x="42529" y="46782"/>
                    </a:lnTo>
                    <a:close/>
                    <a:moveTo>
                      <a:pt x="42529" y="76553"/>
                    </a:moveTo>
                    <a:lnTo>
                      <a:pt x="25518" y="76553"/>
                    </a:lnTo>
                    <a:lnTo>
                      <a:pt x="25518" y="59541"/>
                    </a:lnTo>
                    <a:lnTo>
                      <a:pt x="42529" y="59541"/>
                    </a:lnTo>
                    <a:lnTo>
                      <a:pt x="42529" y="76553"/>
                    </a:lnTo>
                    <a:close/>
                    <a:moveTo>
                      <a:pt x="42529" y="110576"/>
                    </a:moveTo>
                    <a:lnTo>
                      <a:pt x="25518" y="110576"/>
                    </a:lnTo>
                    <a:lnTo>
                      <a:pt x="25518" y="93564"/>
                    </a:lnTo>
                    <a:lnTo>
                      <a:pt x="42529" y="93564"/>
                    </a:lnTo>
                    <a:lnTo>
                      <a:pt x="42529" y="110576"/>
                    </a:lnTo>
                    <a:close/>
                    <a:moveTo>
                      <a:pt x="42529" y="144599"/>
                    </a:moveTo>
                    <a:lnTo>
                      <a:pt x="25518" y="144599"/>
                    </a:lnTo>
                    <a:lnTo>
                      <a:pt x="25518" y="127588"/>
                    </a:lnTo>
                    <a:lnTo>
                      <a:pt x="42529" y="127588"/>
                    </a:lnTo>
                    <a:lnTo>
                      <a:pt x="42529" y="144599"/>
                    </a:lnTo>
                    <a:close/>
                    <a:moveTo>
                      <a:pt x="42529" y="178623"/>
                    </a:moveTo>
                    <a:lnTo>
                      <a:pt x="25518" y="178623"/>
                    </a:lnTo>
                    <a:lnTo>
                      <a:pt x="25518" y="161611"/>
                    </a:lnTo>
                    <a:lnTo>
                      <a:pt x="42529" y="161611"/>
                    </a:lnTo>
                    <a:lnTo>
                      <a:pt x="42529" y="178623"/>
                    </a:lnTo>
                    <a:close/>
                    <a:moveTo>
                      <a:pt x="42529" y="212646"/>
                    </a:moveTo>
                    <a:lnTo>
                      <a:pt x="25518" y="212646"/>
                    </a:lnTo>
                    <a:lnTo>
                      <a:pt x="25518" y="195634"/>
                    </a:lnTo>
                    <a:lnTo>
                      <a:pt x="42529" y="195634"/>
                    </a:lnTo>
                    <a:lnTo>
                      <a:pt x="42529" y="212646"/>
                    </a:lnTo>
                    <a:close/>
                    <a:moveTo>
                      <a:pt x="0" y="0"/>
                    </a:moveTo>
                    <a:lnTo>
                      <a:pt x="0" y="255175"/>
                    </a:lnTo>
                    <a:lnTo>
                      <a:pt x="42529" y="255175"/>
                    </a:lnTo>
                    <a:lnTo>
                      <a:pt x="42529" y="229658"/>
                    </a:lnTo>
                    <a:lnTo>
                      <a:pt x="59541" y="229658"/>
                    </a:lnTo>
                    <a:lnTo>
                      <a:pt x="59541" y="255175"/>
                    </a:lnTo>
                    <a:lnTo>
                      <a:pt x="102070" y="255175"/>
                    </a:lnTo>
                    <a:lnTo>
                      <a:pt x="102070" y="12759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416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53156">
                  <a:defRPr/>
                </a:pPr>
                <a:endParaRPr lang="en-ID" sz="1429" kern="0" dirty="0">
                  <a:solidFill>
                    <a:srgbClr val="3F3F3F"/>
                  </a:solidFill>
                </a:endParaRPr>
              </a:p>
            </p:txBody>
          </p:sp>
          <p:sp>
            <p:nvSpPr>
              <p:cNvPr id="166" name="Freeform: Shape 994">
                <a:extLst>
                  <a:ext uri="{FF2B5EF4-FFF2-40B4-BE49-F238E27FC236}">
                    <a16:creationId xmlns:a16="http://schemas.microsoft.com/office/drawing/2014/main" xmlns="" id="{72DC58B5-8AB3-4DF3-BC74-46FACDB25C8D}"/>
                  </a:ext>
                </a:extLst>
              </p:cNvPr>
              <p:cNvSpPr/>
              <p:nvPr/>
            </p:nvSpPr>
            <p:spPr>
              <a:xfrm>
                <a:off x="-1794170" y="10124720"/>
                <a:ext cx="213360" cy="200284"/>
              </a:xfrm>
              <a:custGeom>
                <a:avLst/>
                <a:gdLst>
                  <a:gd name="connsiteX0" fmla="*/ 59541 w 102070"/>
                  <a:gd name="connsiteY0" fmla="*/ 59541 h 127587"/>
                  <a:gd name="connsiteX1" fmla="*/ 76553 w 102070"/>
                  <a:gd name="connsiteY1" fmla="*/ 59541 h 127587"/>
                  <a:gd name="connsiteX2" fmla="*/ 76553 w 102070"/>
                  <a:gd name="connsiteY2" fmla="*/ 76553 h 127587"/>
                  <a:gd name="connsiteX3" fmla="*/ 59541 w 102070"/>
                  <a:gd name="connsiteY3" fmla="*/ 76553 h 127587"/>
                  <a:gd name="connsiteX4" fmla="*/ 59541 w 102070"/>
                  <a:gd name="connsiteY4" fmla="*/ 59541 h 127587"/>
                  <a:gd name="connsiteX5" fmla="*/ 59541 w 102070"/>
                  <a:gd name="connsiteY5" fmla="*/ 25518 h 127587"/>
                  <a:gd name="connsiteX6" fmla="*/ 76553 w 102070"/>
                  <a:gd name="connsiteY6" fmla="*/ 25518 h 127587"/>
                  <a:gd name="connsiteX7" fmla="*/ 76553 w 102070"/>
                  <a:gd name="connsiteY7" fmla="*/ 42529 h 127587"/>
                  <a:gd name="connsiteX8" fmla="*/ 59541 w 102070"/>
                  <a:gd name="connsiteY8" fmla="*/ 42529 h 127587"/>
                  <a:gd name="connsiteX9" fmla="*/ 59541 w 102070"/>
                  <a:gd name="connsiteY9" fmla="*/ 25518 h 127587"/>
                  <a:gd name="connsiteX10" fmla="*/ 42529 w 102070"/>
                  <a:gd name="connsiteY10" fmla="*/ 42529 h 127587"/>
                  <a:gd name="connsiteX11" fmla="*/ 25518 w 102070"/>
                  <a:gd name="connsiteY11" fmla="*/ 42529 h 127587"/>
                  <a:gd name="connsiteX12" fmla="*/ 25518 w 102070"/>
                  <a:gd name="connsiteY12" fmla="*/ 25518 h 127587"/>
                  <a:gd name="connsiteX13" fmla="*/ 42529 w 102070"/>
                  <a:gd name="connsiteY13" fmla="*/ 25518 h 127587"/>
                  <a:gd name="connsiteX14" fmla="*/ 42529 w 102070"/>
                  <a:gd name="connsiteY14" fmla="*/ 42529 h 127587"/>
                  <a:gd name="connsiteX15" fmla="*/ 42529 w 102070"/>
                  <a:gd name="connsiteY15" fmla="*/ 76553 h 127587"/>
                  <a:gd name="connsiteX16" fmla="*/ 25518 w 102070"/>
                  <a:gd name="connsiteY16" fmla="*/ 76553 h 127587"/>
                  <a:gd name="connsiteX17" fmla="*/ 25518 w 102070"/>
                  <a:gd name="connsiteY17" fmla="*/ 59541 h 127587"/>
                  <a:gd name="connsiteX18" fmla="*/ 42529 w 102070"/>
                  <a:gd name="connsiteY18" fmla="*/ 59541 h 127587"/>
                  <a:gd name="connsiteX19" fmla="*/ 42529 w 102070"/>
                  <a:gd name="connsiteY19" fmla="*/ 76553 h 127587"/>
                  <a:gd name="connsiteX20" fmla="*/ 59541 w 102070"/>
                  <a:gd name="connsiteY20" fmla="*/ 127588 h 127587"/>
                  <a:gd name="connsiteX21" fmla="*/ 102070 w 102070"/>
                  <a:gd name="connsiteY21" fmla="*/ 127588 h 127587"/>
                  <a:gd name="connsiteX22" fmla="*/ 102070 w 102070"/>
                  <a:gd name="connsiteY22" fmla="*/ 0 h 127587"/>
                  <a:gd name="connsiteX23" fmla="*/ 0 w 102070"/>
                  <a:gd name="connsiteY23" fmla="*/ 0 h 127587"/>
                  <a:gd name="connsiteX24" fmla="*/ 0 w 102070"/>
                  <a:gd name="connsiteY24" fmla="*/ 93564 h 127587"/>
                  <a:gd name="connsiteX25" fmla="*/ 59541 w 102070"/>
                  <a:gd name="connsiteY25" fmla="*/ 93564 h 127587"/>
                  <a:gd name="connsiteX26" fmla="*/ 59541 w 102070"/>
                  <a:gd name="connsiteY26" fmla="*/ 127588 h 1275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102070" h="127587">
                    <a:moveTo>
                      <a:pt x="59541" y="59541"/>
                    </a:moveTo>
                    <a:lnTo>
                      <a:pt x="76553" y="59541"/>
                    </a:lnTo>
                    <a:lnTo>
                      <a:pt x="76553" y="76553"/>
                    </a:lnTo>
                    <a:lnTo>
                      <a:pt x="59541" y="76553"/>
                    </a:lnTo>
                    <a:lnTo>
                      <a:pt x="59541" y="59541"/>
                    </a:lnTo>
                    <a:close/>
                    <a:moveTo>
                      <a:pt x="59541" y="25518"/>
                    </a:moveTo>
                    <a:lnTo>
                      <a:pt x="76553" y="25518"/>
                    </a:lnTo>
                    <a:lnTo>
                      <a:pt x="76553" y="42529"/>
                    </a:lnTo>
                    <a:lnTo>
                      <a:pt x="59541" y="42529"/>
                    </a:lnTo>
                    <a:lnTo>
                      <a:pt x="59541" y="25518"/>
                    </a:lnTo>
                    <a:close/>
                    <a:moveTo>
                      <a:pt x="42529" y="42529"/>
                    </a:moveTo>
                    <a:lnTo>
                      <a:pt x="25518" y="42529"/>
                    </a:lnTo>
                    <a:lnTo>
                      <a:pt x="25518" y="25518"/>
                    </a:lnTo>
                    <a:lnTo>
                      <a:pt x="42529" y="25518"/>
                    </a:lnTo>
                    <a:lnTo>
                      <a:pt x="42529" y="42529"/>
                    </a:lnTo>
                    <a:close/>
                    <a:moveTo>
                      <a:pt x="42529" y="76553"/>
                    </a:moveTo>
                    <a:lnTo>
                      <a:pt x="25518" y="76553"/>
                    </a:lnTo>
                    <a:lnTo>
                      <a:pt x="25518" y="59541"/>
                    </a:lnTo>
                    <a:lnTo>
                      <a:pt x="42529" y="59541"/>
                    </a:lnTo>
                    <a:lnTo>
                      <a:pt x="42529" y="76553"/>
                    </a:lnTo>
                    <a:close/>
                    <a:moveTo>
                      <a:pt x="59541" y="127588"/>
                    </a:moveTo>
                    <a:lnTo>
                      <a:pt x="102070" y="127588"/>
                    </a:lnTo>
                    <a:lnTo>
                      <a:pt x="102070" y="0"/>
                    </a:lnTo>
                    <a:lnTo>
                      <a:pt x="0" y="0"/>
                    </a:lnTo>
                    <a:lnTo>
                      <a:pt x="0" y="93564"/>
                    </a:lnTo>
                    <a:lnTo>
                      <a:pt x="59541" y="93564"/>
                    </a:lnTo>
                    <a:lnTo>
                      <a:pt x="59541" y="127588"/>
                    </a:lnTo>
                    <a:close/>
                  </a:path>
                </a:pathLst>
              </a:custGeom>
              <a:grpFill/>
              <a:ln w="416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53156">
                  <a:defRPr/>
                </a:pPr>
                <a:endParaRPr lang="en-ID" sz="1429" kern="0" dirty="0">
                  <a:solidFill>
                    <a:srgbClr val="3F3F3F"/>
                  </a:solidFill>
                </a:endParaRPr>
              </a:p>
            </p:txBody>
          </p:sp>
        </p:grpSp>
      </p:grpSp>
      <p:sp>
        <p:nvSpPr>
          <p:cNvPr id="183" name="TextBox 182">
            <a:extLst>
              <a:ext uri="{FF2B5EF4-FFF2-40B4-BE49-F238E27FC236}">
                <a16:creationId xmlns:a16="http://schemas.microsoft.com/office/drawing/2014/main" xmlns="" id="{7B4B29C8-DAC3-434A-BC67-AE93023D5D0F}"/>
              </a:ext>
            </a:extLst>
          </p:cNvPr>
          <p:cNvSpPr txBox="1"/>
          <p:nvPr/>
        </p:nvSpPr>
        <p:spPr>
          <a:xfrm>
            <a:off x="8924651" y="1769500"/>
            <a:ext cx="299634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217729"/>
            <a:r>
              <a:rPr lang="ru-RU" b="1" dirty="0" smtClean="0"/>
              <a:t>геологических предприятий</a:t>
            </a:r>
            <a:r>
              <a:rPr lang="en-US" b="1" dirty="0" smtClean="0"/>
              <a:t> + </a:t>
            </a:r>
            <a:r>
              <a:rPr lang="ru-RU" b="1" dirty="0" smtClean="0"/>
              <a:t>филиалы /ОП / СП</a:t>
            </a:r>
            <a:endParaRPr lang="ru-RU" b="1" dirty="0"/>
          </a:p>
        </p:txBody>
      </p:sp>
      <p:sp>
        <p:nvSpPr>
          <p:cNvPr id="185" name="TextBox 184"/>
          <p:cNvSpPr txBox="1"/>
          <p:nvPr/>
        </p:nvSpPr>
        <p:spPr>
          <a:xfrm>
            <a:off x="7721213" y="5504961"/>
            <a:ext cx="4470787" cy="9387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400" b="1" dirty="0">
                <a:solidFill>
                  <a:srgbClr val="333333"/>
                </a:solidFill>
              </a:rPr>
              <a:t>отсутствие </a:t>
            </a:r>
            <a:r>
              <a:rPr lang="ru-RU" sz="2400" b="1" dirty="0" smtClean="0">
                <a:solidFill>
                  <a:srgbClr val="333333"/>
                </a:solidFill>
              </a:rPr>
              <a:t>единой методологии</a:t>
            </a:r>
          </a:p>
          <a:p>
            <a:endParaRPr lang="ru-RU" sz="700" b="1" dirty="0">
              <a:solidFill>
                <a:srgbClr val="333333"/>
              </a:solidFill>
            </a:endParaRPr>
          </a:p>
          <a:p>
            <a:r>
              <a:rPr lang="ru-RU" sz="2400" b="1" dirty="0" smtClean="0">
                <a:solidFill>
                  <a:srgbClr val="333333"/>
                </a:solidFill>
              </a:rPr>
              <a:t>отсутствие автоматизации</a:t>
            </a:r>
            <a:endParaRPr lang="ru-RU" sz="2400" b="1" dirty="0">
              <a:solidFill>
                <a:srgbClr val="333333"/>
              </a:solidFill>
            </a:endParaRPr>
          </a:p>
        </p:txBody>
      </p:sp>
      <p:sp>
        <p:nvSpPr>
          <p:cNvPr id="186" name="TextBox 185">
            <a:extLst>
              <a:ext uri="{FF2B5EF4-FFF2-40B4-BE49-F238E27FC236}">
                <a16:creationId xmlns:a16="http://schemas.microsoft.com/office/drawing/2014/main" xmlns="" id="{4EF389D1-9E9B-4FC4-BF21-F1A3DDF5DF0A}"/>
              </a:ext>
            </a:extLst>
          </p:cNvPr>
          <p:cNvSpPr txBox="1"/>
          <p:nvPr/>
        </p:nvSpPr>
        <p:spPr>
          <a:xfrm>
            <a:off x="3043080" y="161535"/>
            <a:ext cx="4116128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32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itillium Web"/>
                <a:ea typeface="+mn-ea"/>
                <a:cs typeface="+mn-cs"/>
              </a:rPr>
              <a:t>Стартовая позиция</a:t>
            </a:r>
            <a:endParaRPr kumimoji="0" lang="en-US" sz="32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Titillium Web"/>
              <a:ea typeface="+mn-ea"/>
              <a:cs typeface="+mn-cs"/>
            </a:endParaRPr>
          </a:p>
        </p:txBody>
      </p:sp>
      <p:grpSp>
        <p:nvGrpSpPr>
          <p:cNvPr id="4" name="Группа 3"/>
          <p:cNvGrpSpPr/>
          <p:nvPr/>
        </p:nvGrpSpPr>
        <p:grpSpPr>
          <a:xfrm>
            <a:off x="6446293" y="5350655"/>
            <a:ext cx="1206174" cy="1082522"/>
            <a:chOff x="3810340" y="5705578"/>
            <a:chExt cx="900000" cy="900000"/>
          </a:xfrm>
        </p:grpSpPr>
        <p:pic>
          <p:nvPicPr>
            <p:cNvPr id="187" name="Рисунок 186">
              <a:extLst>
                <a:ext uri="{FF2B5EF4-FFF2-40B4-BE49-F238E27FC236}">
                  <a16:creationId xmlns:a16="http://schemas.microsoft.com/office/drawing/2014/main" xmlns="" id="{19FD8DE0-6E8E-4E62-B4A9-5592D006940E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>
              <a:off x="3810340" y="5705578"/>
              <a:ext cx="900000" cy="900000"/>
            </a:xfrm>
            <a:prstGeom prst="rect">
              <a:avLst/>
            </a:prstGeom>
          </p:spPr>
        </p:pic>
        <p:pic>
          <p:nvPicPr>
            <p:cNvPr id="3138" name="Picture 66" descr="https://contus.se/resources/o6.png"/>
            <p:cNvPicPr>
              <a:picLocks noChangeAspect="1" noChangeArrowheads="1"/>
            </p:cNvPicPr>
            <p:nvPr/>
          </p:nvPicPr>
          <p:blipFill>
            <a:blip r:embed="rId14" cstate="print">
              <a:duotone>
                <a:schemeClr val="accent4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flipH="1">
              <a:off x="3973825" y="5833867"/>
              <a:ext cx="602163" cy="605087"/>
            </a:xfrm>
            <a:prstGeom prst="rect">
              <a:avLst/>
            </a:prstGeom>
            <a:solidFill>
              <a:schemeClr val="bg1"/>
            </a:solidFill>
          </p:spPr>
        </p:pic>
      </p:grpSp>
    </p:spTree>
    <p:extLst>
      <p:ext uri="{BB962C8B-B14F-4D97-AF65-F5344CB8AC3E}">
        <p14:creationId xmlns:p14="http://schemas.microsoft.com/office/powerpoint/2010/main" val="30414180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7" name="Rectangle 1">
            <a:extLst>
              <a:ext uri="{FF2B5EF4-FFF2-40B4-BE49-F238E27FC236}">
                <a16:creationId xmlns:a16="http://schemas.microsoft.com/office/drawing/2014/main" xmlns="" id="{8A6841E1-FB47-485B-B41B-34E9AA80CF1F}"/>
              </a:ext>
            </a:extLst>
          </p:cNvPr>
          <p:cNvSpPr/>
          <p:nvPr/>
        </p:nvSpPr>
        <p:spPr>
          <a:xfrm>
            <a:off x="0" y="800100"/>
            <a:ext cx="12192000" cy="6057900"/>
          </a:xfrm>
          <a:prstGeom prst="rect">
            <a:avLst/>
          </a:prstGeom>
          <a:solidFill>
            <a:srgbClr val="313C41">
              <a:alpha val="92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653156">
              <a:defRPr/>
            </a:pPr>
            <a:endParaRPr lang="en-ID" sz="1286" kern="0" dirty="0">
              <a:solidFill>
                <a:srgbClr val="FFFFFF"/>
              </a:solidFill>
              <a:latin typeface="Open Sans"/>
            </a:endParaRPr>
          </a:p>
        </p:txBody>
      </p:sp>
      <p:graphicFrame>
        <p:nvGraphicFramePr>
          <p:cNvPr id="2" name="Объект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96" name="Слайд think-cell" r:id="rId6" imgW="347" imgH="346" progId="TCLayout.ActiveDocument.1">
                  <p:embed/>
                </p:oleObj>
              </mc:Choice>
              <mc:Fallback>
                <p:oleObj name="Слайд think-cell" r:id="rId6" imgW="347" imgH="34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Прямоугольник 6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462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81" name="TextBox 180"/>
          <p:cNvSpPr txBox="1"/>
          <p:nvPr/>
        </p:nvSpPr>
        <p:spPr>
          <a:xfrm>
            <a:off x="2212782" y="1360706"/>
            <a:ext cx="9231072" cy="4791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429"/>
              </a:spcAft>
            </a:pPr>
            <a:r>
              <a:rPr lang="ru-RU" sz="3200" dirty="0" smtClean="0">
                <a:solidFill>
                  <a:schemeClr val="bg1"/>
                </a:solidFill>
                <a:cs typeface="Calibri" panose="020F0502020204030204" pitchFamily="34" charset="0"/>
              </a:rPr>
              <a:t>Оперативный контроль платежей ДЗО</a:t>
            </a:r>
          </a:p>
          <a:p>
            <a:pPr>
              <a:spcAft>
                <a:spcPts val="429"/>
              </a:spcAft>
            </a:pPr>
            <a:endParaRPr lang="ru-RU" sz="1600" dirty="0" smtClean="0">
              <a:solidFill>
                <a:schemeClr val="bg1"/>
              </a:solidFill>
              <a:cs typeface="Calibri" panose="020F0502020204030204" pitchFamily="34" charset="0"/>
            </a:endParaRPr>
          </a:p>
          <a:p>
            <a:pPr>
              <a:spcAft>
                <a:spcPts val="429"/>
              </a:spcAft>
            </a:pPr>
            <a:r>
              <a:rPr lang="ru-RU" sz="3200" dirty="0" smtClean="0">
                <a:solidFill>
                  <a:schemeClr val="bg1"/>
                </a:solidFill>
                <a:cs typeface="Calibri" panose="020F0502020204030204" pitchFamily="34" charset="0"/>
              </a:rPr>
              <a:t>Полноценный финансовый контроллинг</a:t>
            </a:r>
          </a:p>
          <a:p>
            <a:pPr>
              <a:spcAft>
                <a:spcPts val="429"/>
              </a:spcAft>
            </a:pPr>
            <a:endParaRPr lang="ru-RU" sz="1600" dirty="0" smtClean="0">
              <a:solidFill>
                <a:schemeClr val="bg1"/>
              </a:solidFill>
              <a:cs typeface="Calibri" panose="020F0502020204030204" pitchFamily="34" charset="0"/>
            </a:endParaRPr>
          </a:p>
          <a:p>
            <a:pPr>
              <a:spcAft>
                <a:spcPts val="429"/>
              </a:spcAft>
            </a:pPr>
            <a:r>
              <a:rPr lang="ru-RU" sz="3200" dirty="0">
                <a:solidFill>
                  <a:schemeClr val="bg1"/>
                </a:solidFill>
                <a:cs typeface="Calibri" panose="020F0502020204030204" pitchFamily="34" charset="0"/>
              </a:rPr>
              <a:t>Платежная дисциплина</a:t>
            </a:r>
          </a:p>
          <a:p>
            <a:pPr>
              <a:spcAft>
                <a:spcPts val="429"/>
              </a:spcAft>
            </a:pPr>
            <a:endParaRPr lang="ru-RU" sz="1600" dirty="0" smtClean="0">
              <a:solidFill>
                <a:schemeClr val="bg1"/>
              </a:solidFill>
              <a:cs typeface="Calibri" panose="020F0502020204030204" pitchFamily="34" charset="0"/>
            </a:endParaRPr>
          </a:p>
          <a:p>
            <a:pPr>
              <a:spcAft>
                <a:spcPts val="429"/>
              </a:spcAft>
            </a:pPr>
            <a:r>
              <a:rPr lang="ru-RU" sz="3200" dirty="0" smtClean="0">
                <a:solidFill>
                  <a:schemeClr val="bg1"/>
                </a:solidFill>
                <a:cs typeface="Calibri" panose="020F0502020204030204" pitchFamily="34" charset="0"/>
              </a:rPr>
              <a:t>Оперативное получение информации</a:t>
            </a:r>
          </a:p>
          <a:p>
            <a:pPr>
              <a:spcAft>
                <a:spcPts val="429"/>
              </a:spcAft>
            </a:pPr>
            <a:endParaRPr lang="ru-RU" sz="1600" dirty="0" smtClean="0">
              <a:solidFill>
                <a:schemeClr val="bg1"/>
              </a:solidFill>
              <a:cs typeface="Calibri" panose="020F0502020204030204" pitchFamily="34" charset="0"/>
            </a:endParaRPr>
          </a:p>
          <a:p>
            <a:pPr>
              <a:spcAft>
                <a:spcPts val="429"/>
              </a:spcAft>
            </a:pPr>
            <a:r>
              <a:rPr lang="ru-RU" sz="3200" dirty="0" smtClean="0">
                <a:solidFill>
                  <a:schemeClr val="bg1"/>
                </a:solidFill>
                <a:cs typeface="Calibri" panose="020F0502020204030204" pitchFamily="34" charset="0"/>
              </a:rPr>
              <a:t>Качественный валютный контроль</a:t>
            </a:r>
          </a:p>
          <a:p>
            <a:pPr>
              <a:spcAft>
                <a:spcPts val="429"/>
              </a:spcAft>
            </a:pPr>
            <a:endParaRPr lang="ru-RU" sz="1600" dirty="0" smtClean="0">
              <a:solidFill>
                <a:schemeClr val="bg1"/>
              </a:solidFill>
              <a:cs typeface="Calibri" panose="020F0502020204030204" pitchFamily="34" charset="0"/>
            </a:endParaRPr>
          </a:p>
          <a:p>
            <a:pPr>
              <a:spcAft>
                <a:spcPts val="429"/>
              </a:spcAft>
            </a:pPr>
            <a:r>
              <a:rPr lang="ru-RU" sz="3200" dirty="0">
                <a:solidFill>
                  <a:schemeClr val="bg1"/>
                </a:solidFill>
                <a:cs typeface="Calibri" panose="020F0502020204030204" pitchFamily="34" charset="0"/>
              </a:rPr>
              <a:t>Ручной </a:t>
            </a:r>
            <a:r>
              <a:rPr lang="ru-RU" sz="3200" dirty="0" smtClean="0">
                <a:solidFill>
                  <a:schemeClr val="bg1"/>
                </a:solidFill>
                <a:cs typeface="Calibri" panose="020F0502020204030204" pitchFamily="34" charset="0"/>
              </a:rPr>
              <a:t>труд</a:t>
            </a:r>
            <a:endParaRPr lang="ru-RU" sz="3200" dirty="0">
              <a:solidFill>
                <a:schemeClr val="bg1"/>
              </a:solidFill>
              <a:cs typeface="Calibri" panose="020F0502020204030204" pitchFamily="34" charset="0"/>
            </a:endParaRPr>
          </a:p>
        </p:txBody>
      </p:sp>
      <p:sp>
        <p:nvSpPr>
          <p:cNvPr id="186" name="TextBox 185">
            <a:extLst>
              <a:ext uri="{FF2B5EF4-FFF2-40B4-BE49-F238E27FC236}">
                <a16:creationId xmlns:a16="http://schemas.microsoft.com/office/drawing/2014/main" xmlns="" id="{4EF389D1-9E9B-4FC4-BF21-F1A3DDF5DF0A}"/>
              </a:ext>
            </a:extLst>
          </p:cNvPr>
          <p:cNvSpPr txBox="1"/>
          <p:nvPr/>
        </p:nvSpPr>
        <p:spPr>
          <a:xfrm>
            <a:off x="3532509" y="161535"/>
            <a:ext cx="8544673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32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itillium Web"/>
                <a:ea typeface="+mn-ea"/>
                <a:cs typeface="+mn-cs"/>
              </a:rPr>
              <a:t>Стартовая позиция: Проблематика</a:t>
            </a:r>
            <a:endParaRPr kumimoji="0" lang="en-US" sz="32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Titillium Web"/>
              <a:ea typeface="+mn-ea"/>
              <a:cs typeface="+mn-cs"/>
            </a:endParaRPr>
          </a:p>
        </p:txBody>
      </p:sp>
      <p:pic>
        <p:nvPicPr>
          <p:cNvPr id="3094" name="Picture 22" descr="Клипарт крестик (69 фото) » Рисунки для срисовки и не только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762672" y="1471655"/>
            <a:ext cx="548400" cy="5181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7" name="TextBox 186"/>
          <p:cNvSpPr txBox="1"/>
          <p:nvPr/>
        </p:nvSpPr>
        <p:spPr>
          <a:xfrm>
            <a:off x="7049017" y="1795849"/>
            <a:ext cx="5142983" cy="178510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429"/>
              </a:spcAft>
            </a:pPr>
            <a:endParaRPr lang="ru-RU" sz="2500" dirty="0" smtClean="0">
              <a:solidFill>
                <a:schemeClr val="bg1"/>
              </a:solidFill>
              <a:cs typeface="Calibri" panose="020F0502020204030204" pitchFamily="34" charset="0"/>
            </a:endParaRPr>
          </a:p>
          <a:p>
            <a:pPr>
              <a:spcAft>
                <a:spcPts val="429"/>
              </a:spcAft>
            </a:pPr>
            <a:endParaRPr lang="ru-RU" sz="2500" dirty="0" smtClean="0">
              <a:solidFill>
                <a:schemeClr val="bg1"/>
              </a:solidFill>
              <a:cs typeface="Calibri" panose="020F0502020204030204" pitchFamily="34" charset="0"/>
            </a:endParaRPr>
          </a:p>
          <a:p>
            <a:pPr>
              <a:spcAft>
                <a:spcPts val="429"/>
              </a:spcAft>
            </a:pPr>
            <a:endParaRPr lang="ru-RU" sz="2500" dirty="0" smtClean="0">
              <a:solidFill>
                <a:schemeClr val="bg1"/>
              </a:solidFill>
              <a:cs typeface="Calibri" panose="020F0502020204030204" pitchFamily="34" charset="0"/>
            </a:endParaRPr>
          </a:p>
          <a:p>
            <a:pPr>
              <a:spcAft>
                <a:spcPts val="429"/>
              </a:spcAft>
            </a:pPr>
            <a:endParaRPr lang="ru-RU" sz="2500" dirty="0" smtClean="0">
              <a:solidFill>
                <a:schemeClr val="bg1"/>
              </a:solidFill>
              <a:cs typeface="Calibri" panose="020F0502020204030204" pitchFamily="34" charset="0"/>
            </a:endParaRPr>
          </a:p>
        </p:txBody>
      </p:sp>
      <p:pic>
        <p:nvPicPr>
          <p:cNvPr id="18" name="Picture 22" descr="Клипарт крестик (69 фото) » Рисунки для срисовки и не только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776345" y="2988393"/>
            <a:ext cx="548400" cy="5181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" name="Picture 22" descr="Клипарт крестик (69 фото) » Рисунки для срисовки и не только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787689" y="3854069"/>
            <a:ext cx="548400" cy="5181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" name="Picture 22" descr="Клипарт крестик (69 фото) » Рисунки для срисовки и не только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791053" y="4719745"/>
            <a:ext cx="548400" cy="5181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" name="Picture 22" descr="Клипарт крестик (69 фото) » Рисунки для срисовки и не только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791053" y="5637140"/>
            <a:ext cx="548400" cy="5181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2" name="Picture 22" descr="Клипарт крестик (69 фото) » Рисунки для срисовки и не только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762180" y="2208328"/>
            <a:ext cx="548400" cy="5181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057302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1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1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1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1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1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81" grpId="0" uiExpand="1" build="p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36" name="Слайд think-cell" r:id="rId6" imgW="347" imgH="346" progId="TCLayout.ActiveDocument.1">
                  <p:embed/>
                </p:oleObj>
              </mc:Choice>
              <mc:Fallback>
                <p:oleObj name="Слайд think-cell" r:id="rId6" imgW="347" imgH="346" progId="TCLayout.ActiveDocument.1">
                  <p:embed/>
                  <p:pic>
                    <p:nvPicPr>
                      <p:cNvPr id="2" name="Объект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Прямоугольник 6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462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xmlns="" id="{4EF389D1-9E9B-4FC4-BF21-F1A3DDF5DF0A}"/>
              </a:ext>
            </a:extLst>
          </p:cNvPr>
          <p:cNvSpPr txBox="1"/>
          <p:nvPr/>
        </p:nvSpPr>
        <p:spPr>
          <a:xfrm>
            <a:off x="3234423" y="168700"/>
            <a:ext cx="2748894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32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itillium Web"/>
                <a:ea typeface="+mn-ea"/>
                <a:cs typeface="+mn-cs"/>
              </a:rPr>
              <a:t>Бизнес-идея</a:t>
            </a:r>
            <a:endParaRPr kumimoji="0" lang="en-US" sz="32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Titillium Web"/>
              <a:ea typeface="+mn-ea"/>
              <a:cs typeface="+mn-cs"/>
            </a:endParaRPr>
          </a:p>
        </p:txBody>
      </p:sp>
      <p:sp>
        <p:nvSpPr>
          <p:cNvPr id="39" name="Rectangle 20">
            <a:extLst>
              <a:ext uri="{FF2B5EF4-FFF2-40B4-BE49-F238E27FC236}">
                <a16:creationId xmlns:a16="http://schemas.microsoft.com/office/drawing/2014/main" xmlns="" id="{35243DD3-35C7-4641-81AE-B18CF3869EEF}"/>
              </a:ext>
            </a:extLst>
          </p:cNvPr>
          <p:cNvSpPr/>
          <p:nvPr/>
        </p:nvSpPr>
        <p:spPr>
          <a:xfrm>
            <a:off x="2438400" y="1004561"/>
            <a:ext cx="9490891" cy="5638285"/>
          </a:xfrm>
          <a:prstGeom prst="rect">
            <a:avLst/>
          </a:prstGeom>
          <a:solidFill>
            <a:srgbClr val="FFFFFF"/>
          </a:solidFill>
          <a:ln w="25400" cap="flat" cmpd="sng" algn="ctr">
            <a:solidFill>
              <a:schemeClr val="bg1">
                <a:lumMod val="95000"/>
              </a:schemeClr>
            </a:solidFill>
            <a:prstDash val="solid"/>
            <a:miter lim="800000"/>
          </a:ln>
          <a:effectLst>
            <a:outerShdw blurRad="393700" dist="50800" dir="5400000" algn="ctr" rotWithShape="0">
              <a:srgbClr val="000000">
                <a:alpha val="25000"/>
              </a:srgbClr>
            </a:outerShdw>
          </a:effectLst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sp>
        <p:nvSpPr>
          <p:cNvPr id="17" name="ZoneTexte 4"/>
          <p:cNvSpPr txBox="1"/>
          <p:nvPr/>
        </p:nvSpPr>
        <p:spPr>
          <a:xfrm>
            <a:off x="3553549" y="1773775"/>
            <a:ext cx="8375742" cy="4739759"/>
          </a:xfrm>
          <a:prstGeom prst="rect">
            <a:avLst/>
          </a:prstGeom>
          <a:noFill/>
        </p:spPr>
        <p:txBody>
          <a:bodyPr wrap="square" lIns="84406" rIns="0" rtlCol="0">
            <a:spAutoFit/>
          </a:bodyPr>
          <a:lstStyle/>
          <a:p>
            <a:pPr lvl="0"/>
            <a:r>
              <a:rPr kumimoji="0" lang="ru-RU" sz="3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</a:rPr>
              <a:t>Этап 1</a:t>
            </a:r>
            <a:r>
              <a:rPr lang="ru-RU" sz="3200" b="1" dirty="0">
                <a:solidFill>
                  <a:srgbClr val="000000"/>
                </a:solidFill>
                <a:latin typeface="Calibri"/>
              </a:rPr>
              <a:t>. Унифицировать справочники </a:t>
            </a:r>
            <a:endParaRPr lang="ru-RU" sz="3200" b="1" dirty="0" smtClean="0">
              <a:solidFill>
                <a:srgbClr val="000000"/>
              </a:solidFill>
              <a:latin typeface="Calibri"/>
            </a:endParaRPr>
          </a:p>
          <a:p>
            <a:pPr lvl="0"/>
            <a:r>
              <a:rPr lang="ru-RU" sz="2400" b="1" dirty="0" smtClean="0">
                <a:solidFill>
                  <a:schemeClr val="bg1">
                    <a:lumMod val="50000"/>
                  </a:schemeClr>
                </a:solidFill>
                <a:latin typeface="Calibri"/>
              </a:rPr>
              <a:t>(</a:t>
            </a:r>
            <a:r>
              <a:rPr lang="ru-RU" sz="2800" b="1" dirty="0">
                <a:solidFill>
                  <a:schemeClr val="bg1">
                    <a:lumMod val="50000"/>
                  </a:schemeClr>
                </a:solidFill>
                <a:latin typeface="Calibri"/>
              </a:rPr>
              <a:t>контрагенты, </a:t>
            </a:r>
            <a:r>
              <a:rPr lang="ru-RU" sz="2800" b="1" dirty="0" smtClean="0">
                <a:solidFill>
                  <a:schemeClr val="bg1">
                    <a:lumMod val="50000"/>
                  </a:schemeClr>
                </a:solidFill>
                <a:latin typeface="Calibri"/>
              </a:rPr>
              <a:t>договоры, банковские </a:t>
            </a:r>
            <a:r>
              <a:rPr lang="ru-RU" sz="2800" b="1" dirty="0">
                <a:solidFill>
                  <a:schemeClr val="bg1">
                    <a:lumMod val="50000"/>
                  </a:schemeClr>
                </a:solidFill>
                <a:latin typeface="Calibri"/>
              </a:rPr>
              <a:t>счета</a:t>
            </a:r>
            <a:r>
              <a:rPr lang="ru-RU" sz="2400" b="1" dirty="0">
                <a:solidFill>
                  <a:schemeClr val="bg1">
                    <a:lumMod val="50000"/>
                  </a:schemeClr>
                </a:solidFill>
                <a:latin typeface="Calibri"/>
              </a:rPr>
              <a:t>) </a:t>
            </a:r>
            <a:r>
              <a:rPr lang="ru-RU" sz="2400" b="1" dirty="0" smtClean="0">
                <a:solidFill>
                  <a:schemeClr val="bg1">
                    <a:lumMod val="50000"/>
                  </a:schemeClr>
                </a:solidFill>
                <a:latin typeface="Calibri"/>
              </a:rPr>
              <a:t> </a:t>
            </a:r>
            <a:r>
              <a:rPr lang="ru-RU" sz="2800" b="1" u="sng" dirty="0" smtClean="0">
                <a:latin typeface="Calibri"/>
              </a:rPr>
              <a:t>1С:MDM</a:t>
            </a:r>
          </a:p>
          <a:p>
            <a:pPr lvl="0"/>
            <a:endParaRPr lang="ru-RU" sz="2400" b="1" u="sng" dirty="0" smtClean="0">
              <a:solidFill>
                <a:schemeClr val="bg1">
                  <a:lumMod val="50000"/>
                </a:schemeClr>
              </a:solidFill>
              <a:latin typeface="Calibri"/>
            </a:endParaRPr>
          </a:p>
          <a:p>
            <a:pPr lvl="0"/>
            <a:endParaRPr kumimoji="0" lang="ru-RU" sz="1600" b="0" i="0" u="none" strike="noStrike" kern="120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lvl="0"/>
            <a:r>
              <a:rPr kumimoji="0" lang="ru-RU" sz="3200" b="1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Calibri"/>
              </a:rPr>
              <a:t>Этап 2</a:t>
            </a:r>
            <a:r>
              <a:rPr lang="ru-RU" sz="3200" b="1" dirty="0">
                <a:latin typeface="Calibri"/>
              </a:rPr>
              <a:t>. Унифицировать и автоматизировать платежный </a:t>
            </a:r>
            <a:r>
              <a:rPr lang="ru-RU" sz="3200" b="1" dirty="0" smtClean="0">
                <a:latin typeface="Calibri"/>
              </a:rPr>
              <a:t>процесс</a:t>
            </a:r>
            <a:r>
              <a:rPr lang="ru-RU" sz="2800" b="1" dirty="0">
                <a:latin typeface="Calibri"/>
              </a:rPr>
              <a:t/>
            </a:r>
            <a:br>
              <a:rPr lang="ru-RU" sz="2800" b="1" dirty="0">
                <a:latin typeface="Calibri"/>
              </a:rPr>
            </a:br>
            <a:r>
              <a:rPr lang="ru-RU" sz="2800" b="1" u="sng" dirty="0">
                <a:latin typeface="Calibri"/>
              </a:rPr>
              <a:t>1С:Управление </a:t>
            </a:r>
            <a:r>
              <a:rPr lang="ru-RU" sz="2800" b="1" u="sng" dirty="0" smtClean="0">
                <a:latin typeface="Calibri"/>
              </a:rPr>
              <a:t>Холдингом</a:t>
            </a:r>
          </a:p>
          <a:p>
            <a:pPr lvl="0"/>
            <a:endParaRPr lang="ru-RU" sz="2800" b="1" u="sng" dirty="0" smtClean="0">
              <a:solidFill>
                <a:schemeClr val="bg1">
                  <a:lumMod val="50000"/>
                </a:schemeClr>
              </a:solidFill>
              <a:latin typeface="Calibri"/>
            </a:endParaRPr>
          </a:p>
          <a:p>
            <a:pPr lvl="0"/>
            <a:endParaRPr lang="ru-RU" b="1" dirty="0">
              <a:latin typeface="Calibri"/>
            </a:endParaRPr>
          </a:p>
          <a:p>
            <a:r>
              <a:rPr lang="ru-RU" sz="2800" b="1" dirty="0" smtClean="0">
                <a:latin typeface="Calibri"/>
              </a:rPr>
              <a:t>Этап 3. </a:t>
            </a:r>
            <a:r>
              <a:rPr lang="ru-RU" sz="3200" b="1" dirty="0" smtClean="0">
                <a:latin typeface="Calibri"/>
              </a:rPr>
              <a:t>Передать </a:t>
            </a:r>
            <a:r>
              <a:rPr lang="ru-RU" sz="3200" b="1" dirty="0">
                <a:latin typeface="Calibri"/>
              </a:rPr>
              <a:t>все управление платежами </a:t>
            </a:r>
            <a:r>
              <a:rPr lang="ru-RU" sz="3200" b="1" dirty="0" smtClean="0">
                <a:latin typeface="Calibri"/>
              </a:rPr>
              <a:t/>
            </a:r>
            <a:br>
              <a:rPr lang="ru-RU" sz="3200" b="1" dirty="0" smtClean="0">
                <a:latin typeface="Calibri"/>
              </a:rPr>
            </a:br>
            <a:r>
              <a:rPr lang="ru-RU" sz="3200" b="1" dirty="0" smtClean="0">
                <a:latin typeface="Calibri"/>
              </a:rPr>
              <a:t>в </a:t>
            </a:r>
            <a:r>
              <a:rPr lang="ru-RU" sz="3200" b="1" u="sng" dirty="0" smtClean="0">
                <a:latin typeface="Calibri"/>
              </a:rPr>
              <a:t>Единый </a:t>
            </a:r>
            <a:r>
              <a:rPr lang="ru-RU" sz="3200" b="1" u="sng" dirty="0">
                <a:latin typeface="Calibri"/>
              </a:rPr>
              <a:t>расчетный Центр </a:t>
            </a:r>
            <a:r>
              <a:rPr lang="ru-RU" sz="3200" b="1" u="sng" dirty="0" smtClean="0">
                <a:latin typeface="Calibri"/>
              </a:rPr>
              <a:t>Холдинга</a:t>
            </a:r>
            <a:endParaRPr lang="ru-RU" sz="3200" b="1" u="sng" dirty="0">
              <a:latin typeface="Calibri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113E31D-E2AB-40D1-8B51-AFA5AFEF393A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EABF55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EABF55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</p:txBody>
      </p:sp>
      <p:pic>
        <p:nvPicPr>
          <p:cNvPr id="36" name="Рисунок 35"/>
          <p:cNvPicPr>
            <a:picLocks noChangeAspect="1"/>
          </p:cNvPicPr>
          <p:nvPr/>
        </p:nvPicPr>
        <p:blipFill rotWithShape="1">
          <a:blip r:embed="rId8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761672" y="1773775"/>
            <a:ext cx="608438" cy="966630"/>
          </a:xfrm>
          <a:prstGeom prst="rect">
            <a:avLst/>
          </a:prstGeom>
        </p:spPr>
      </p:pic>
      <p:pic>
        <p:nvPicPr>
          <p:cNvPr id="38" name="Рисунок 37"/>
          <p:cNvPicPr>
            <a:picLocks noChangeAspect="1"/>
          </p:cNvPicPr>
          <p:nvPr/>
        </p:nvPicPr>
        <p:blipFill rotWithShape="1">
          <a:blip r:embed="rId8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745151" y="3509619"/>
            <a:ext cx="641480" cy="1019124"/>
          </a:xfrm>
          <a:prstGeom prst="rect">
            <a:avLst/>
          </a:prstGeom>
        </p:spPr>
      </p:pic>
      <p:pic>
        <p:nvPicPr>
          <p:cNvPr id="47" name="Рисунок 46"/>
          <p:cNvPicPr>
            <a:picLocks noChangeAspect="1"/>
          </p:cNvPicPr>
          <p:nvPr/>
        </p:nvPicPr>
        <p:blipFill rotWithShape="1">
          <a:blip r:embed="rId8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751674" y="5150081"/>
            <a:ext cx="691565" cy="1098694"/>
          </a:xfrm>
          <a:prstGeom prst="rect">
            <a:avLst/>
          </a:prstGeom>
        </p:spPr>
      </p:pic>
      <p:sp>
        <p:nvSpPr>
          <p:cNvPr id="8" name="Прямоугольник 7"/>
          <p:cNvSpPr/>
          <p:nvPr/>
        </p:nvSpPr>
        <p:spPr>
          <a:xfrm>
            <a:off x="2392220" y="1001902"/>
            <a:ext cx="9692269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800" b="1" dirty="0">
                <a:solidFill>
                  <a:srgbClr val="000000"/>
                </a:solidFill>
                <a:latin typeface="Calibri"/>
              </a:rPr>
              <a:t> </a:t>
            </a:r>
            <a:r>
              <a:rPr lang="ru-RU" sz="3200" b="1" dirty="0">
                <a:solidFill>
                  <a:schemeClr val="bg2"/>
                </a:solidFill>
                <a:latin typeface="Titillium Web"/>
              </a:rPr>
              <a:t>Автоматизировать и централизовать платежи</a:t>
            </a:r>
            <a:endParaRPr lang="ru-RU" sz="3200" dirty="0"/>
          </a:p>
        </p:txBody>
      </p:sp>
      <p:pic>
        <p:nvPicPr>
          <p:cNvPr id="50" name="Рисунок 49"/>
          <p:cNvPicPr>
            <a:picLocks noChangeAspect="1"/>
          </p:cNvPicPr>
          <p:nvPr/>
        </p:nvPicPr>
        <p:blipFill rotWithShape="1">
          <a:blip r:embed="rId9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1816350" y="484306"/>
            <a:ext cx="3867752" cy="6144733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xmlns="" id="{7B4B29C8-DAC3-434A-BC67-AE93023D5D0F}"/>
              </a:ext>
            </a:extLst>
          </p:cNvPr>
          <p:cNvSpPr txBox="1"/>
          <p:nvPr/>
        </p:nvSpPr>
        <p:spPr>
          <a:xfrm rot="19032595">
            <a:off x="607667" y="2955621"/>
            <a:ext cx="3042670" cy="1107996"/>
          </a:xfrm>
          <a:prstGeom prst="rect">
            <a:avLst/>
          </a:prstGeom>
          <a:noFill/>
          <a:ln w="57150">
            <a:solidFill>
              <a:srgbClr val="FF0000"/>
            </a:solidFill>
            <a:prstDash val="solid"/>
          </a:ln>
        </p:spPr>
        <p:txBody>
          <a:bodyPr wrap="square" rtlCol="0">
            <a:spAutoFit/>
          </a:bodyPr>
          <a:lstStyle/>
          <a:p>
            <a:pPr defTabSz="217729"/>
            <a:r>
              <a:rPr lang="ru-RU" sz="6600" b="1" dirty="0" smtClean="0">
                <a:solidFill>
                  <a:srgbClr val="FF0000"/>
                </a:solidFill>
              </a:rPr>
              <a:t>1 ГОД</a:t>
            </a:r>
            <a:endParaRPr lang="ru-RU" sz="9600" b="1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015756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87" name="Слайд think-cell" r:id="rId6" imgW="347" imgH="346" progId="TCLayout.ActiveDocument.1">
                  <p:embed/>
                </p:oleObj>
              </mc:Choice>
              <mc:Fallback>
                <p:oleObj name="Слайд think-cell" r:id="rId6" imgW="347" imgH="346" progId="TCLayout.ActiveDocument.1">
                  <p:embed/>
                  <p:pic>
                    <p:nvPicPr>
                      <p:cNvPr id="2" name="Объект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Прямоугольник 6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ru-RU" sz="2462" b="1" dirty="0">
              <a:latin typeface="Calibri" panose="020F0502020204030204" pitchFamily="34" charset="0"/>
              <a:ea typeface="+mj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3466341" y="102708"/>
            <a:ext cx="8240532" cy="527474"/>
          </a:xfrm>
        </p:spPr>
        <p:txBody>
          <a:bodyPr/>
          <a:lstStyle/>
          <a:p>
            <a:r>
              <a:rPr lang="ru-RU" sz="4000" dirty="0"/>
              <a:t>Что пришлось </a:t>
            </a:r>
            <a:r>
              <a:rPr lang="ru-RU" sz="4000" dirty="0" smtClean="0"/>
              <a:t>кардинально </a:t>
            </a:r>
            <a:r>
              <a:rPr lang="ru-RU" sz="4000" dirty="0"/>
              <a:t>поменять</a:t>
            </a:r>
          </a:p>
        </p:txBody>
      </p:sp>
      <p:sp>
        <p:nvSpPr>
          <p:cNvPr id="105" name="TextBox 104">
            <a:extLst>
              <a:ext uri="{FF2B5EF4-FFF2-40B4-BE49-F238E27FC236}">
                <a16:creationId xmlns:a16="http://schemas.microsoft.com/office/drawing/2014/main" xmlns="" id="{51CB023E-482E-4A3B-B05D-D6055928A765}"/>
              </a:ext>
            </a:extLst>
          </p:cNvPr>
          <p:cNvSpPr txBox="1"/>
          <p:nvPr/>
        </p:nvSpPr>
        <p:spPr>
          <a:xfrm>
            <a:off x="1748492" y="1215336"/>
            <a:ext cx="1025120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800" b="1" dirty="0" smtClean="0"/>
              <a:t>Регламент платежей </a:t>
            </a:r>
            <a:r>
              <a:rPr lang="ru-RU" sz="2400" b="1" dirty="0" smtClean="0">
                <a:solidFill>
                  <a:schemeClr val="bg1">
                    <a:lumMod val="50000"/>
                  </a:schemeClr>
                </a:solidFill>
              </a:rPr>
              <a:t>(под автоматизацию и централизацию)</a:t>
            </a:r>
            <a:endParaRPr lang="ru-RU" sz="2400" b="1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3"/>
          </p:nvPr>
        </p:nvSpPr>
        <p:spPr>
          <a:xfrm>
            <a:off x="-56774" y="6475608"/>
            <a:ext cx="667730" cy="414443"/>
          </a:xfrm>
        </p:spPr>
        <p:txBody>
          <a:bodyPr/>
          <a:lstStyle/>
          <a:p>
            <a:pPr>
              <a:defRPr/>
            </a:pPr>
            <a:fld id="{6113E31D-E2AB-40D1-8B51-AFA5AFEF393A}" type="slidenum">
              <a:rPr lang="en-US" smtClean="0"/>
              <a:pPr>
                <a:defRPr/>
              </a:pPr>
              <a:t>5</a:t>
            </a:fld>
            <a:endParaRPr lang="en-US" dirty="0"/>
          </a:p>
        </p:txBody>
      </p:sp>
      <p:grpSp>
        <p:nvGrpSpPr>
          <p:cNvPr id="3" name="Группа 2"/>
          <p:cNvGrpSpPr/>
          <p:nvPr/>
        </p:nvGrpSpPr>
        <p:grpSpPr>
          <a:xfrm>
            <a:off x="571426" y="1220838"/>
            <a:ext cx="900000" cy="900000"/>
            <a:chOff x="1037550" y="1605210"/>
            <a:chExt cx="900000" cy="900000"/>
          </a:xfrm>
        </p:grpSpPr>
        <p:sp>
          <p:nvSpPr>
            <p:cNvPr id="48" name="Oval 19">
              <a:extLst>
                <a:ext uri="{FF2B5EF4-FFF2-40B4-BE49-F238E27FC236}">
                  <a16:creationId xmlns:a16="http://schemas.microsoft.com/office/drawing/2014/main" xmlns="" id="{ADFBF206-4869-46E1-90A3-0C1599A17B36}"/>
                </a:ext>
              </a:extLst>
            </p:cNvPr>
            <p:cNvSpPr/>
            <p:nvPr/>
          </p:nvSpPr>
          <p:spPr>
            <a:xfrm>
              <a:off x="1037550" y="1605210"/>
              <a:ext cx="900000" cy="900000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solidFill>
                  <a:schemeClr val="tx1"/>
                </a:solidFill>
              </a:endParaRPr>
            </a:p>
          </p:txBody>
        </p:sp>
        <p:sp>
          <p:nvSpPr>
            <p:cNvPr id="49" name="Oval 21">
              <a:extLst>
                <a:ext uri="{FF2B5EF4-FFF2-40B4-BE49-F238E27FC236}">
                  <a16:creationId xmlns:a16="http://schemas.microsoft.com/office/drawing/2014/main" xmlns="" id="{A6C393F5-B205-424C-A463-DDF011D1FDCC}"/>
                </a:ext>
              </a:extLst>
            </p:cNvPr>
            <p:cNvSpPr/>
            <p:nvPr/>
          </p:nvSpPr>
          <p:spPr>
            <a:xfrm>
              <a:off x="1149458" y="1717118"/>
              <a:ext cx="676184" cy="676184"/>
            </a:xfrm>
            <a:prstGeom prst="ellipse">
              <a:avLst/>
            </a:prstGeom>
            <a:solidFill>
              <a:schemeClr val="bg1">
                <a:lumMod val="50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solidFill>
                  <a:schemeClr val="tx1"/>
                </a:solidFill>
              </a:endParaRPr>
            </a:p>
          </p:txBody>
        </p:sp>
        <p:sp>
          <p:nvSpPr>
            <p:cNvPr id="47" name="TextBox 46">
              <a:extLst>
                <a:ext uri="{FF2B5EF4-FFF2-40B4-BE49-F238E27FC236}">
                  <a16:creationId xmlns:a16="http://schemas.microsoft.com/office/drawing/2014/main" xmlns="" id="{4EA19FCD-5561-413B-8181-F19422A75322}"/>
                </a:ext>
              </a:extLst>
            </p:cNvPr>
            <p:cNvSpPr txBox="1"/>
            <p:nvPr/>
          </p:nvSpPr>
          <p:spPr>
            <a:xfrm>
              <a:off x="1327370" y="1773876"/>
              <a:ext cx="299400" cy="553998"/>
            </a:xfrm>
            <a:prstGeom prst="rect">
              <a:avLst/>
            </a:prstGeom>
          </p:spPr>
          <p:txBody>
            <a:bodyPr vert="horz" wrap="square" lIns="0" tIns="0" rIns="0" bIns="0" rtlCol="0" anchor="ctr">
              <a:spAutoFit/>
            </a:bodyPr>
            <a:lstStyle>
              <a:lvl1pPr marL="0" lvl="0" indent="0" defTabSz="1193860" eaLnBrk="1" latinLnBrk="0" hangingPunct="1">
                <a:buClr>
                  <a:schemeClr val="tx2"/>
                </a:buClr>
                <a:buSzPct val="100000"/>
                <a:defRPr baseline="0">
                  <a:latin typeface="+mn-lt"/>
                </a:defRPr>
              </a:lvl1pPr>
              <a:lvl2pPr marL="258246" lvl="1" indent="-256130" defTabSz="1193860" eaLnBrk="1" latinLnBrk="0" hangingPunct="1">
                <a:buClr>
                  <a:schemeClr val="tx2"/>
                </a:buClr>
                <a:buSzPct val="100000"/>
                <a:buFont typeface="Wingdings" panose="05000000000000000000" pitchFamily="2" charset="2"/>
                <a:buChar char="§"/>
                <a:defRPr baseline="0">
                  <a:latin typeface="+mn-lt"/>
                </a:defRPr>
              </a:lvl2pPr>
              <a:lvl3pPr marL="609630" lvl="2" indent="-349268" defTabSz="119386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819192" lvl="3" indent="-207444" defTabSz="1193860" eaLnBrk="1" latinLnBrk="0" hangingPunct="1">
                <a:buClr>
                  <a:schemeClr val="tx2"/>
                </a:buClr>
                <a:buSzPct val="120000"/>
                <a:buFont typeface="Arial" panose="020B0604020202020204" pitchFamily="34" charset="0"/>
                <a:buChar char="▫"/>
                <a:defRPr baseline="0">
                  <a:latin typeface="+mn-lt"/>
                </a:defRPr>
              </a:lvl4pPr>
              <a:lvl5pPr marL="999794" lvl="4" indent="-173575" defTabSz="119386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6pPr>
              <a:lvl7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7pPr>
              <a:lvl8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8pPr>
              <a:lvl9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9pPr>
            </a:lstStyle>
            <a:p>
              <a:pPr algn="ctr"/>
              <a:r>
                <a:rPr lang="en-US" sz="3600" b="1" dirty="0">
                  <a:solidFill>
                    <a:schemeClr val="bg1"/>
                  </a:solidFill>
                </a:rPr>
                <a:t>1</a:t>
              </a:r>
              <a:endParaRPr lang="ru-RU" sz="3600" b="1" dirty="0">
                <a:solidFill>
                  <a:schemeClr val="bg1"/>
                </a:solidFill>
              </a:endParaRPr>
            </a:p>
          </p:txBody>
        </p:sp>
      </p:grpSp>
      <p:sp>
        <p:nvSpPr>
          <p:cNvPr id="75" name="TextBox 74">
            <a:extLst>
              <a:ext uri="{FF2B5EF4-FFF2-40B4-BE49-F238E27FC236}">
                <a16:creationId xmlns:a16="http://schemas.microsoft.com/office/drawing/2014/main" xmlns="" id="{51CB023E-482E-4A3B-B05D-D6055928A765}"/>
              </a:ext>
            </a:extLst>
          </p:cNvPr>
          <p:cNvSpPr txBox="1"/>
          <p:nvPr/>
        </p:nvSpPr>
        <p:spPr>
          <a:xfrm>
            <a:off x="2602839" y="2068604"/>
            <a:ext cx="917003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800" b="1" dirty="0" smtClean="0"/>
              <a:t>Ввод данных по платежам </a:t>
            </a:r>
            <a:r>
              <a:rPr lang="ru-RU" sz="2400" b="1" dirty="0" smtClean="0">
                <a:solidFill>
                  <a:schemeClr val="bg1">
                    <a:lumMod val="50000"/>
                  </a:schemeClr>
                </a:solidFill>
              </a:rPr>
              <a:t>(исполнители ЦФО)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xmlns="" id="{51CB023E-482E-4A3B-B05D-D6055928A765}"/>
              </a:ext>
            </a:extLst>
          </p:cNvPr>
          <p:cNvSpPr txBox="1"/>
          <p:nvPr/>
        </p:nvSpPr>
        <p:spPr>
          <a:xfrm>
            <a:off x="2602839" y="3140369"/>
            <a:ext cx="939685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800" b="1" dirty="0" smtClean="0"/>
              <a:t>Работа со справочниками </a:t>
            </a:r>
            <a:r>
              <a:rPr lang="ru-RU" sz="2400" b="1" dirty="0" smtClean="0">
                <a:solidFill>
                  <a:schemeClr val="bg1">
                    <a:lumMod val="50000"/>
                  </a:schemeClr>
                </a:solidFill>
              </a:rPr>
              <a:t>(запрет на ручной ввод) </a:t>
            </a:r>
            <a:endParaRPr lang="ru-RU" sz="2400" b="1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xmlns="" id="{51CB023E-482E-4A3B-B05D-D6055928A765}"/>
              </a:ext>
            </a:extLst>
          </p:cNvPr>
          <p:cNvSpPr txBox="1"/>
          <p:nvPr/>
        </p:nvSpPr>
        <p:spPr>
          <a:xfrm>
            <a:off x="2656866" y="4150570"/>
            <a:ext cx="865063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800" b="1" dirty="0" smtClean="0"/>
              <a:t>Ролевая модель </a:t>
            </a:r>
            <a:r>
              <a:rPr lang="ru-RU" sz="2400" b="1" dirty="0" smtClean="0">
                <a:solidFill>
                  <a:schemeClr val="bg1">
                    <a:lumMod val="50000"/>
                  </a:schemeClr>
                </a:solidFill>
              </a:rPr>
              <a:t>(для 1С:УХ)</a:t>
            </a:r>
            <a:endParaRPr lang="ru-RU" sz="2400" b="1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xmlns="" id="{51CB023E-482E-4A3B-B05D-D6055928A765}"/>
              </a:ext>
            </a:extLst>
          </p:cNvPr>
          <p:cNvSpPr txBox="1"/>
          <p:nvPr/>
        </p:nvSpPr>
        <p:spPr>
          <a:xfrm>
            <a:off x="1640333" y="6007260"/>
            <a:ext cx="974205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800" b="1" dirty="0" smtClean="0"/>
              <a:t>Численность сотрудников </a:t>
            </a:r>
            <a:r>
              <a:rPr lang="ru-RU" sz="2400" b="1" dirty="0" smtClean="0">
                <a:solidFill>
                  <a:schemeClr val="bg1">
                    <a:lumMod val="50000"/>
                  </a:schemeClr>
                </a:solidFill>
              </a:rPr>
              <a:t>(с 83 в ДЗО до 25 в ЕРЦ) </a:t>
            </a:r>
            <a:endParaRPr lang="ru-RU" sz="2400" b="1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xmlns="" id="{51CB023E-482E-4A3B-B05D-D6055928A765}"/>
              </a:ext>
            </a:extLst>
          </p:cNvPr>
          <p:cNvSpPr txBox="1"/>
          <p:nvPr/>
        </p:nvSpPr>
        <p:spPr>
          <a:xfrm>
            <a:off x="2146333" y="5115371"/>
            <a:ext cx="1021195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800" b="1" dirty="0" smtClean="0"/>
              <a:t>Выпуск ЭЦП для счетов ДЗО </a:t>
            </a:r>
            <a:r>
              <a:rPr lang="ru-RU" sz="2400" b="1" dirty="0" smtClean="0">
                <a:solidFill>
                  <a:schemeClr val="bg1">
                    <a:lumMod val="50000"/>
                  </a:schemeClr>
                </a:solidFill>
              </a:rPr>
              <a:t>(все ЭЦП у Руководителя ЕРЦ)</a:t>
            </a:r>
            <a:endParaRPr lang="ru-RU" sz="2400" b="1" dirty="0">
              <a:solidFill>
                <a:schemeClr val="bg1">
                  <a:lumMod val="50000"/>
                </a:schemeClr>
              </a:solidFill>
            </a:endParaRPr>
          </a:p>
        </p:txBody>
      </p:sp>
      <p:grpSp>
        <p:nvGrpSpPr>
          <p:cNvPr id="53" name="Группа 52"/>
          <p:cNvGrpSpPr/>
          <p:nvPr/>
        </p:nvGrpSpPr>
        <p:grpSpPr>
          <a:xfrm>
            <a:off x="1308973" y="1931723"/>
            <a:ext cx="900000" cy="900000"/>
            <a:chOff x="1037550" y="1605210"/>
            <a:chExt cx="900000" cy="900000"/>
          </a:xfrm>
        </p:grpSpPr>
        <p:sp>
          <p:nvSpPr>
            <p:cNvPr id="54" name="Oval 19">
              <a:extLst>
                <a:ext uri="{FF2B5EF4-FFF2-40B4-BE49-F238E27FC236}">
                  <a16:creationId xmlns:a16="http://schemas.microsoft.com/office/drawing/2014/main" xmlns="" id="{ADFBF206-4869-46E1-90A3-0C1599A17B36}"/>
                </a:ext>
              </a:extLst>
            </p:cNvPr>
            <p:cNvSpPr/>
            <p:nvPr/>
          </p:nvSpPr>
          <p:spPr>
            <a:xfrm>
              <a:off x="1037550" y="1605210"/>
              <a:ext cx="900000" cy="900000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solidFill>
                  <a:schemeClr val="tx1"/>
                </a:solidFill>
              </a:endParaRPr>
            </a:p>
          </p:txBody>
        </p:sp>
        <p:sp>
          <p:nvSpPr>
            <p:cNvPr id="55" name="Oval 21">
              <a:extLst>
                <a:ext uri="{FF2B5EF4-FFF2-40B4-BE49-F238E27FC236}">
                  <a16:creationId xmlns:a16="http://schemas.microsoft.com/office/drawing/2014/main" xmlns="" id="{A6C393F5-B205-424C-A463-DDF011D1FDCC}"/>
                </a:ext>
              </a:extLst>
            </p:cNvPr>
            <p:cNvSpPr/>
            <p:nvPr/>
          </p:nvSpPr>
          <p:spPr>
            <a:xfrm>
              <a:off x="1149458" y="1717118"/>
              <a:ext cx="676184" cy="676184"/>
            </a:xfrm>
            <a:prstGeom prst="ellipse">
              <a:avLst/>
            </a:prstGeom>
            <a:solidFill>
              <a:schemeClr val="bg1">
                <a:lumMod val="50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solidFill>
                  <a:schemeClr val="tx1"/>
                </a:solidFill>
              </a:endParaRPr>
            </a:p>
          </p:txBody>
        </p:sp>
        <p:sp>
          <p:nvSpPr>
            <p:cNvPr id="56" name="TextBox 55">
              <a:extLst>
                <a:ext uri="{FF2B5EF4-FFF2-40B4-BE49-F238E27FC236}">
                  <a16:creationId xmlns:a16="http://schemas.microsoft.com/office/drawing/2014/main" xmlns="" id="{4EA19FCD-5561-413B-8181-F19422A75322}"/>
                </a:ext>
              </a:extLst>
            </p:cNvPr>
            <p:cNvSpPr txBox="1"/>
            <p:nvPr/>
          </p:nvSpPr>
          <p:spPr>
            <a:xfrm>
              <a:off x="1327370" y="1773876"/>
              <a:ext cx="299400" cy="553998"/>
            </a:xfrm>
            <a:prstGeom prst="rect">
              <a:avLst/>
            </a:prstGeom>
          </p:spPr>
          <p:txBody>
            <a:bodyPr vert="horz" wrap="square" lIns="0" tIns="0" rIns="0" bIns="0" rtlCol="0" anchor="ctr">
              <a:spAutoFit/>
            </a:bodyPr>
            <a:lstStyle>
              <a:lvl1pPr marL="0" lvl="0" indent="0" defTabSz="1193860" eaLnBrk="1" latinLnBrk="0" hangingPunct="1">
                <a:buClr>
                  <a:schemeClr val="tx2"/>
                </a:buClr>
                <a:buSzPct val="100000"/>
                <a:defRPr baseline="0">
                  <a:latin typeface="+mn-lt"/>
                </a:defRPr>
              </a:lvl1pPr>
              <a:lvl2pPr marL="258246" lvl="1" indent="-256130" defTabSz="1193860" eaLnBrk="1" latinLnBrk="0" hangingPunct="1">
                <a:buClr>
                  <a:schemeClr val="tx2"/>
                </a:buClr>
                <a:buSzPct val="100000"/>
                <a:buFont typeface="Wingdings" panose="05000000000000000000" pitchFamily="2" charset="2"/>
                <a:buChar char="§"/>
                <a:defRPr baseline="0">
                  <a:latin typeface="+mn-lt"/>
                </a:defRPr>
              </a:lvl2pPr>
              <a:lvl3pPr marL="609630" lvl="2" indent="-349268" defTabSz="119386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819192" lvl="3" indent="-207444" defTabSz="1193860" eaLnBrk="1" latinLnBrk="0" hangingPunct="1">
                <a:buClr>
                  <a:schemeClr val="tx2"/>
                </a:buClr>
                <a:buSzPct val="120000"/>
                <a:buFont typeface="Arial" panose="020B0604020202020204" pitchFamily="34" charset="0"/>
                <a:buChar char="▫"/>
                <a:defRPr baseline="0">
                  <a:latin typeface="+mn-lt"/>
                </a:defRPr>
              </a:lvl4pPr>
              <a:lvl5pPr marL="999794" lvl="4" indent="-173575" defTabSz="119386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6pPr>
              <a:lvl7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7pPr>
              <a:lvl8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8pPr>
              <a:lvl9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9pPr>
            </a:lstStyle>
            <a:p>
              <a:pPr algn="ctr"/>
              <a:r>
                <a:rPr lang="ru-RU" sz="3600" b="1" dirty="0">
                  <a:solidFill>
                    <a:schemeClr val="bg1"/>
                  </a:solidFill>
                </a:rPr>
                <a:t>2</a:t>
              </a:r>
            </a:p>
          </p:txBody>
        </p:sp>
      </p:grpSp>
      <p:grpSp>
        <p:nvGrpSpPr>
          <p:cNvPr id="57" name="Группа 56"/>
          <p:cNvGrpSpPr/>
          <p:nvPr/>
        </p:nvGrpSpPr>
        <p:grpSpPr>
          <a:xfrm>
            <a:off x="1648859" y="2868167"/>
            <a:ext cx="900000" cy="900000"/>
            <a:chOff x="1037550" y="1605210"/>
            <a:chExt cx="900000" cy="900000"/>
          </a:xfrm>
        </p:grpSpPr>
        <p:sp>
          <p:nvSpPr>
            <p:cNvPr id="58" name="Oval 19">
              <a:extLst>
                <a:ext uri="{FF2B5EF4-FFF2-40B4-BE49-F238E27FC236}">
                  <a16:creationId xmlns:a16="http://schemas.microsoft.com/office/drawing/2014/main" xmlns="" id="{ADFBF206-4869-46E1-90A3-0C1599A17B36}"/>
                </a:ext>
              </a:extLst>
            </p:cNvPr>
            <p:cNvSpPr/>
            <p:nvPr/>
          </p:nvSpPr>
          <p:spPr>
            <a:xfrm>
              <a:off x="1037550" y="1605210"/>
              <a:ext cx="900000" cy="900000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solidFill>
                  <a:schemeClr val="tx1"/>
                </a:solidFill>
              </a:endParaRPr>
            </a:p>
          </p:txBody>
        </p:sp>
        <p:sp>
          <p:nvSpPr>
            <p:cNvPr id="59" name="Oval 21">
              <a:extLst>
                <a:ext uri="{FF2B5EF4-FFF2-40B4-BE49-F238E27FC236}">
                  <a16:creationId xmlns:a16="http://schemas.microsoft.com/office/drawing/2014/main" xmlns="" id="{A6C393F5-B205-424C-A463-DDF011D1FDCC}"/>
                </a:ext>
              </a:extLst>
            </p:cNvPr>
            <p:cNvSpPr/>
            <p:nvPr/>
          </p:nvSpPr>
          <p:spPr>
            <a:xfrm>
              <a:off x="1149458" y="1717118"/>
              <a:ext cx="676184" cy="676184"/>
            </a:xfrm>
            <a:prstGeom prst="ellipse">
              <a:avLst/>
            </a:prstGeom>
            <a:solidFill>
              <a:schemeClr val="bg1">
                <a:lumMod val="50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solidFill>
                  <a:schemeClr val="tx1"/>
                </a:solidFill>
              </a:endParaRPr>
            </a:p>
          </p:txBody>
        </p:sp>
        <p:sp>
          <p:nvSpPr>
            <p:cNvPr id="60" name="TextBox 59">
              <a:extLst>
                <a:ext uri="{FF2B5EF4-FFF2-40B4-BE49-F238E27FC236}">
                  <a16:creationId xmlns:a16="http://schemas.microsoft.com/office/drawing/2014/main" xmlns="" id="{4EA19FCD-5561-413B-8181-F19422A75322}"/>
                </a:ext>
              </a:extLst>
            </p:cNvPr>
            <p:cNvSpPr txBox="1"/>
            <p:nvPr/>
          </p:nvSpPr>
          <p:spPr>
            <a:xfrm>
              <a:off x="1327370" y="1773876"/>
              <a:ext cx="299400" cy="553998"/>
            </a:xfrm>
            <a:prstGeom prst="rect">
              <a:avLst/>
            </a:prstGeom>
          </p:spPr>
          <p:txBody>
            <a:bodyPr vert="horz" wrap="square" lIns="0" tIns="0" rIns="0" bIns="0" rtlCol="0" anchor="ctr">
              <a:spAutoFit/>
            </a:bodyPr>
            <a:lstStyle>
              <a:lvl1pPr marL="0" lvl="0" indent="0" defTabSz="1193860" eaLnBrk="1" latinLnBrk="0" hangingPunct="1">
                <a:buClr>
                  <a:schemeClr val="tx2"/>
                </a:buClr>
                <a:buSzPct val="100000"/>
                <a:defRPr baseline="0">
                  <a:latin typeface="+mn-lt"/>
                </a:defRPr>
              </a:lvl1pPr>
              <a:lvl2pPr marL="258246" lvl="1" indent="-256130" defTabSz="1193860" eaLnBrk="1" latinLnBrk="0" hangingPunct="1">
                <a:buClr>
                  <a:schemeClr val="tx2"/>
                </a:buClr>
                <a:buSzPct val="100000"/>
                <a:buFont typeface="Wingdings" panose="05000000000000000000" pitchFamily="2" charset="2"/>
                <a:buChar char="§"/>
                <a:defRPr baseline="0">
                  <a:latin typeface="+mn-lt"/>
                </a:defRPr>
              </a:lvl2pPr>
              <a:lvl3pPr marL="609630" lvl="2" indent="-349268" defTabSz="119386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819192" lvl="3" indent="-207444" defTabSz="1193860" eaLnBrk="1" latinLnBrk="0" hangingPunct="1">
                <a:buClr>
                  <a:schemeClr val="tx2"/>
                </a:buClr>
                <a:buSzPct val="120000"/>
                <a:buFont typeface="Arial" panose="020B0604020202020204" pitchFamily="34" charset="0"/>
                <a:buChar char="▫"/>
                <a:defRPr baseline="0">
                  <a:latin typeface="+mn-lt"/>
                </a:defRPr>
              </a:lvl4pPr>
              <a:lvl5pPr marL="999794" lvl="4" indent="-173575" defTabSz="119386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6pPr>
              <a:lvl7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7pPr>
              <a:lvl8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8pPr>
              <a:lvl9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9pPr>
            </a:lstStyle>
            <a:p>
              <a:pPr algn="ctr"/>
              <a:r>
                <a:rPr lang="ru-RU" sz="3600" b="1" dirty="0">
                  <a:solidFill>
                    <a:schemeClr val="bg1"/>
                  </a:solidFill>
                </a:rPr>
                <a:t>3</a:t>
              </a:r>
            </a:p>
          </p:txBody>
        </p:sp>
      </p:grpSp>
      <p:grpSp>
        <p:nvGrpSpPr>
          <p:cNvPr id="61" name="Группа 60"/>
          <p:cNvGrpSpPr/>
          <p:nvPr/>
        </p:nvGrpSpPr>
        <p:grpSpPr>
          <a:xfrm>
            <a:off x="1702839" y="3881053"/>
            <a:ext cx="900000" cy="900000"/>
            <a:chOff x="1037550" y="1605210"/>
            <a:chExt cx="900000" cy="900000"/>
          </a:xfrm>
        </p:grpSpPr>
        <p:sp>
          <p:nvSpPr>
            <p:cNvPr id="62" name="Oval 19">
              <a:extLst>
                <a:ext uri="{FF2B5EF4-FFF2-40B4-BE49-F238E27FC236}">
                  <a16:creationId xmlns:a16="http://schemas.microsoft.com/office/drawing/2014/main" xmlns="" id="{ADFBF206-4869-46E1-90A3-0C1599A17B36}"/>
                </a:ext>
              </a:extLst>
            </p:cNvPr>
            <p:cNvSpPr/>
            <p:nvPr/>
          </p:nvSpPr>
          <p:spPr>
            <a:xfrm>
              <a:off x="1037550" y="1605210"/>
              <a:ext cx="900000" cy="900000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solidFill>
                  <a:schemeClr val="tx1"/>
                </a:solidFill>
              </a:endParaRPr>
            </a:p>
          </p:txBody>
        </p:sp>
        <p:sp>
          <p:nvSpPr>
            <p:cNvPr id="63" name="Oval 21">
              <a:extLst>
                <a:ext uri="{FF2B5EF4-FFF2-40B4-BE49-F238E27FC236}">
                  <a16:creationId xmlns:a16="http://schemas.microsoft.com/office/drawing/2014/main" xmlns="" id="{A6C393F5-B205-424C-A463-DDF011D1FDCC}"/>
                </a:ext>
              </a:extLst>
            </p:cNvPr>
            <p:cNvSpPr/>
            <p:nvPr/>
          </p:nvSpPr>
          <p:spPr>
            <a:xfrm>
              <a:off x="1149458" y="1717118"/>
              <a:ext cx="676184" cy="676184"/>
            </a:xfrm>
            <a:prstGeom prst="ellipse">
              <a:avLst/>
            </a:prstGeom>
            <a:solidFill>
              <a:schemeClr val="bg1">
                <a:lumMod val="50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solidFill>
                  <a:schemeClr val="tx1"/>
                </a:solidFill>
              </a:endParaRPr>
            </a:p>
          </p:txBody>
        </p:sp>
        <p:sp>
          <p:nvSpPr>
            <p:cNvPr id="64" name="TextBox 63">
              <a:extLst>
                <a:ext uri="{FF2B5EF4-FFF2-40B4-BE49-F238E27FC236}">
                  <a16:creationId xmlns:a16="http://schemas.microsoft.com/office/drawing/2014/main" xmlns="" id="{4EA19FCD-5561-413B-8181-F19422A75322}"/>
                </a:ext>
              </a:extLst>
            </p:cNvPr>
            <p:cNvSpPr txBox="1"/>
            <p:nvPr/>
          </p:nvSpPr>
          <p:spPr>
            <a:xfrm>
              <a:off x="1327370" y="1773876"/>
              <a:ext cx="299400" cy="553998"/>
            </a:xfrm>
            <a:prstGeom prst="rect">
              <a:avLst/>
            </a:prstGeom>
          </p:spPr>
          <p:txBody>
            <a:bodyPr vert="horz" wrap="square" lIns="0" tIns="0" rIns="0" bIns="0" rtlCol="0" anchor="ctr">
              <a:spAutoFit/>
            </a:bodyPr>
            <a:lstStyle>
              <a:lvl1pPr marL="0" lvl="0" indent="0" defTabSz="1193860" eaLnBrk="1" latinLnBrk="0" hangingPunct="1">
                <a:buClr>
                  <a:schemeClr val="tx2"/>
                </a:buClr>
                <a:buSzPct val="100000"/>
                <a:defRPr baseline="0">
                  <a:latin typeface="+mn-lt"/>
                </a:defRPr>
              </a:lvl1pPr>
              <a:lvl2pPr marL="258246" lvl="1" indent="-256130" defTabSz="1193860" eaLnBrk="1" latinLnBrk="0" hangingPunct="1">
                <a:buClr>
                  <a:schemeClr val="tx2"/>
                </a:buClr>
                <a:buSzPct val="100000"/>
                <a:buFont typeface="Wingdings" panose="05000000000000000000" pitchFamily="2" charset="2"/>
                <a:buChar char="§"/>
                <a:defRPr baseline="0">
                  <a:latin typeface="+mn-lt"/>
                </a:defRPr>
              </a:lvl2pPr>
              <a:lvl3pPr marL="609630" lvl="2" indent="-349268" defTabSz="119386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819192" lvl="3" indent="-207444" defTabSz="1193860" eaLnBrk="1" latinLnBrk="0" hangingPunct="1">
                <a:buClr>
                  <a:schemeClr val="tx2"/>
                </a:buClr>
                <a:buSzPct val="120000"/>
                <a:buFont typeface="Arial" panose="020B0604020202020204" pitchFamily="34" charset="0"/>
                <a:buChar char="▫"/>
                <a:defRPr baseline="0">
                  <a:latin typeface="+mn-lt"/>
                </a:defRPr>
              </a:lvl4pPr>
              <a:lvl5pPr marL="999794" lvl="4" indent="-173575" defTabSz="119386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6pPr>
              <a:lvl7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7pPr>
              <a:lvl8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8pPr>
              <a:lvl9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9pPr>
            </a:lstStyle>
            <a:p>
              <a:pPr algn="ctr"/>
              <a:r>
                <a:rPr lang="ru-RU" sz="3600" b="1" dirty="0">
                  <a:solidFill>
                    <a:schemeClr val="bg1"/>
                  </a:solidFill>
                </a:rPr>
                <a:t>4</a:t>
              </a:r>
            </a:p>
          </p:txBody>
        </p:sp>
      </p:grpSp>
      <p:grpSp>
        <p:nvGrpSpPr>
          <p:cNvPr id="76" name="Группа 75"/>
          <p:cNvGrpSpPr/>
          <p:nvPr/>
        </p:nvGrpSpPr>
        <p:grpSpPr>
          <a:xfrm>
            <a:off x="1298492" y="4864723"/>
            <a:ext cx="900000" cy="900000"/>
            <a:chOff x="1037550" y="1605210"/>
            <a:chExt cx="900000" cy="900000"/>
          </a:xfrm>
        </p:grpSpPr>
        <p:sp>
          <p:nvSpPr>
            <p:cNvPr id="77" name="Oval 19">
              <a:extLst>
                <a:ext uri="{FF2B5EF4-FFF2-40B4-BE49-F238E27FC236}">
                  <a16:creationId xmlns:a16="http://schemas.microsoft.com/office/drawing/2014/main" xmlns="" id="{ADFBF206-4869-46E1-90A3-0C1599A17B36}"/>
                </a:ext>
              </a:extLst>
            </p:cNvPr>
            <p:cNvSpPr/>
            <p:nvPr/>
          </p:nvSpPr>
          <p:spPr>
            <a:xfrm>
              <a:off x="1037550" y="1605210"/>
              <a:ext cx="900000" cy="900000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solidFill>
                  <a:schemeClr val="tx1"/>
                </a:solidFill>
              </a:endParaRPr>
            </a:p>
          </p:txBody>
        </p:sp>
        <p:sp>
          <p:nvSpPr>
            <p:cNvPr id="78" name="Oval 21">
              <a:extLst>
                <a:ext uri="{FF2B5EF4-FFF2-40B4-BE49-F238E27FC236}">
                  <a16:creationId xmlns:a16="http://schemas.microsoft.com/office/drawing/2014/main" xmlns="" id="{A6C393F5-B205-424C-A463-DDF011D1FDCC}"/>
                </a:ext>
              </a:extLst>
            </p:cNvPr>
            <p:cNvSpPr/>
            <p:nvPr/>
          </p:nvSpPr>
          <p:spPr>
            <a:xfrm>
              <a:off x="1149458" y="1717118"/>
              <a:ext cx="676184" cy="676184"/>
            </a:xfrm>
            <a:prstGeom prst="ellipse">
              <a:avLst/>
            </a:prstGeom>
            <a:solidFill>
              <a:schemeClr val="bg1">
                <a:lumMod val="50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solidFill>
                  <a:schemeClr val="tx1"/>
                </a:solidFill>
              </a:endParaRPr>
            </a:p>
          </p:txBody>
        </p:sp>
        <p:sp>
          <p:nvSpPr>
            <p:cNvPr id="79" name="TextBox 78">
              <a:extLst>
                <a:ext uri="{FF2B5EF4-FFF2-40B4-BE49-F238E27FC236}">
                  <a16:creationId xmlns:a16="http://schemas.microsoft.com/office/drawing/2014/main" xmlns="" id="{4EA19FCD-5561-413B-8181-F19422A75322}"/>
                </a:ext>
              </a:extLst>
            </p:cNvPr>
            <p:cNvSpPr txBox="1"/>
            <p:nvPr/>
          </p:nvSpPr>
          <p:spPr>
            <a:xfrm>
              <a:off x="1327370" y="1773876"/>
              <a:ext cx="299400" cy="553998"/>
            </a:xfrm>
            <a:prstGeom prst="rect">
              <a:avLst/>
            </a:prstGeom>
          </p:spPr>
          <p:txBody>
            <a:bodyPr vert="horz" wrap="square" lIns="0" tIns="0" rIns="0" bIns="0" rtlCol="0" anchor="ctr">
              <a:spAutoFit/>
            </a:bodyPr>
            <a:lstStyle>
              <a:lvl1pPr marL="0" lvl="0" indent="0" defTabSz="1193860" eaLnBrk="1" latinLnBrk="0" hangingPunct="1">
                <a:buClr>
                  <a:schemeClr val="tx2"/>
                </a:buClr>
                <a:buSzPct val="100000"/>
                <a:defRPr baseline="0">
                  <a:latin typeface="+mn-lt"/>
                </a:defRPr>
              </a:lvl1pPr>
              <a:lvl2pPr marL="258246" lvl="1" indent="-256130" defTabSz="1193860" eaLnBrk="1" latinLnBrk="0" hangingPunct="1">
                <a:buClr>
                  <a:schemeClr val="tx2"/>
                </a:buClr>
                <a:buSzPct val="100000"/>
                <a:buFont typeface="Wingdings" panose="05000000000000000000" pitchFamily="2" charset="2"/>
                <a:buChar char="§"/>
                <a:defRPr baseline="0">
                  <a:latin typeface="+mn-lt"/>
                </a:defRPr>
              </a:lvl2pPr>
              <a:lvl3pPr marL="609630" lvl="2" indent="-349268" defTabSz="119386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819192" lvl="3" indent="-207444" defTabSz="1193860" eaLnBrk="1" latinLnBrk="0" hangingPunct="1">
                <a:buClr>
                  <a:schemeClr val="tx2"/>
                </a:buClr>
                <a:buSzPct val="120000"/>
                <a:buFont typeface="Arial" panose="020B0604020202020204" pitchFamily="34" charset="0"/>
                <a:buChar char="▫"/>
                <a:defRPr baseline="0">
                  <a:latin typeface="+mn-lt"/>
                </a:defRPr>
              </a:lvl4pPr>
              <a:lvl5pPr marL="999794" lvl="4" indent="-173575" defTabSz="119386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6pPr>
              <a:lvl7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7pPr>
              <a:lvl8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8pPr>
              <a:lvl9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9pPr>
            </a:lstStyle>
            <a:p>
              <a:pPr algn="ctr"/>
              <a:r>
                <a:rPr lang="ru-RU" sz="3600" b="1" dirty="0">
                  <a:solidFill>
                    <a:schemeClr val="bg1"/>
                  </a:solidFill>
                </a:rPr>
                <a:t>5</a:t>
              </a:r>
            </a:p>
          </p:txBody>
        </p:sp>
      </p:grpSp>
      <p:grpSp>
        <p:nvGrpSpPr>
          <p:cNvPr id="80" name="Группа 79"/>
          <p:cNvGrpSpPr/>
          <p:nvPr/>
        </p:nvGrpSpPr>
        <p:grpSpPr>
          <a:xfrm>
            <a:off x="611735" y="5666111"/>
            <a:ext cx="900000" cy="900000"/>
            <a:chOff x="1037550" y="1605210"/>
            <a:chExt cx="900000" cy="900000"/>
          </a:xfrm>
        </p:grpSpPr>
        <p:sp>
          <p:nvSpPr>
            <p:cNvPr id="81" name="Oval 19">
              <a:extLst>
                <a:ext uri="{FF2B5EF4-FFF2-40B4-BE49-F238E27FC236}">
                  <a16:creationId xmlns:a16="http://schemas.microsoft.com/office/drawing/2014/main" xmlns="" id="{ADFBF206-4869-46E1-90A3-0C1599A17B36}"/>
                </a:ext>
              </a:extLst>
            </p:cNvPr>
            <p:cNvSpPr/>
            <p:nvPr/>
          </p:nvSpPr>
          <p:spPr>
            <a:xfrm>
              <a:off x="1037550" y="1605210"/>
              <a:ext cx="900000" cy="900000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solidFill>
                  <a:schemeClr val="tx1"/>
                </a:solidFill>
              </a:endParaRPr>
            </a:p>
          </p:txBody>
        </p:sp>
        <p:sp>
          <p:nvSpPr>
            <p:cNvPr id="82" name="Oval 21">
              <a:extLst>
                <a:ext uri="{FF2B5EF4-FFF2-40B4-BE49-F238E27FC236}">
                  <a16:creationId xmlns:a16="http://schemas.microsoft.com/office/drawing/2014/main" xmlns="" id="{A6C393F5-B205-424C-A463-DDF011D1FDCC}"/>
                </a:ext>
              </a:extLst>
            </p:cNvPr>
            <p:cNvSpPr/>
            <p:nvPr/>
          </p:nvSpPr>
          <p:spPr>
            <a:xfrm>
              <a:off x="1149458" y="1717118"/>
              <a:ext cx="676184" cy="676184"/>
            </a:xfrm>
            <a:prstGeom prst="ellipse">
              <a:avLst/>
            </a:prstGeom>
            <a:solidFill>
              <a:schemeClr val="bg1">
                <a:lumMod val="50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solidFill>
                  <a:schemeClr val="tx1"/>
                </a:solidFill>
              </a:endParaRPr>
            </a:p>
          </p:txBody>
        </p:sp>
        <p:sp>
          <p:nvSpPr>
            <p:cNvPr id="83" name="TextBox 82">
              <a:extLst>
                <a:ext uri="{FF2B5EF4-FFF2-40B4-BE49-F238E27FC236}">
                  <a16:creationId xmlns:a16="http://schemas.microsoft.com/office/drawing/2014/main" xmlns="" id="{4EA19FCD-5561-413B-8181-F19422A75322}"/>
                </a:ext>
              </a:extLst>
            </p:cNvPr>
            <p:cNvSpPr txBox="1"/>
            <p:nvPr/>
          </p:nvSpPr>
          <p:spPr>
            <a:xfrm>
              <a:off x="1327370" y="1773876"/>
              <a:ext cx="299400" cy="553998"/>
            </a:xfrm>
            <a:prstGeom prst="rect">
              <a:avLst/>
            </a:prstGeom>
          </p:spPr>
          <p:txBody>
            <a:bodyPr vert="horz" wrap="square" lIns="0" tIns="0" rIns="0" bIns="0" rtlCol="0" anchor="ctr">
              <a:spAutoFit/>
            </a:bodyPr>
            <a:lstStyle>
              <a:lvl1pPr marL="0" lvl="0" indent="0" defTabSz="1193860" eaLnBrk="1" latinLnBrk="0" hangingPunct="1">
                <a:buClr>
                  <a:schemeClr val="tx2"/>
                </a:buClr>
                <a:buSzPct val="100000"/>
                <a:defRPr baseline="0">
                  <a:latin typeface="+mn-lt"/>
                </a:defRPr>
              </a:lvl1pPr>
              <a:lvl2pPr marL="258246" lvl="1" indent="-256130" defTabSz="1193860" eaLnBrk="1" latinLnBrk="0" hangingPunct="1">
                <a:buClr>
                  <a:schemeClr val="tx2"/>
                </a:buClr>
                <a:buSzPct val="100000"/>
                <a:buFont typeface="Wingdings" panose="05000000000000000000" pitchFamily="2" charset="2"/>
                <a:buChar char="§"/>
                <a:defRPr baseline="0">
                  <a:latin typeface="+mn-lt"/>
                </a:defRPr>
              </a:lvl2pPr>
              <a:lvl3pPr marL="609630" lvl="2" indent="-349268" defTabSz="119386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819192" lvl="3" indent="-207444" defTabSz="1193860" eaLnBrk="1" latinLnBrk="0" hangingPunct="1">
                <a:buClr>
                  <a:schemeClr val="tx2"/>
                </a:buClr>
                <a:buSzPct val="120000"/>
                <a:buFont typeface="Arial" panose="020B0604020202020204" pitchFamily="34" charset="0"/>
                <a:buChar char="▫"/>
                <a:defRPr baseline="0">
                  <a:latin typeface="+mn-lt"/>
                </a:defRPr>
              </a:lvl4pPr>
              <a:lvl5pPr marL="999794" lvl="4" indent="-173575" defTabSz="119386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6pPr>
              <a:lvl7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7pPr>
              <a:lvl8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8pPr>
              <a:lvl9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9pPr>
            </a:lstStyle>
            <a:p>
              <a:pPr algn="ctr"/>
              <a:r>
                <a:rPr lang="ru-RU" sz="3600" b="1" dirty="0" smtClean="0">
                  <a:solidFill>
                    <a:schemeClr val="bg1"/>
                  </a:solidFill>
                </a:rPr>
                <a:t>6</a:t>
              </a:r>
              <a:endParaRPr lang="ru-RU" sz="3600" b="1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84" name="Группа 83"/>
          <p:cNvGrpSpPr/>
          <p:nvPr/>
        </p:nvGrpSpPr>
        <p:grpSpPr>
          <a:xfrm>
            <a:off x="-3841" y="1806673"/>
            <a:ext cx="1543637" cy="4354386"/>
            <a:chOff x="3549900" y="1751409"/>
            <a:chExt cx="1515159" cy="4016158"/>
          </a:xfrm>
        </p:grpSpPr>
        <p:grpSp>
          <p:nvGrpSpPr>
            <p:cNvPr id="85" name="Группа 84"/>
            <p:cNvGrpSpPr/>
            <p:nvPr/>
          </p:nvGrpSpPr>
          <p:grpSpPr>
            <a:xfrm>
              <a:off x="3549900" y="1751409"/>
              <a:ext cx="1515159" cy="4016158"/>
              <a:chOff x="3778918" y="3543694"/>
              <a:chExt cx="943119" cy="2666521"/>
            </a:xfrm>
          </p:grpSpPr>
          <p:sp>
            <p:nvSpPr>
              <p:cNvPr id="113" name="Полилиния 112">
                <a:extLst>
                  <a:ext uri="{FF2B5EF4-FFF2-40B4-BE49-F238E27FC236}">
                    <a16:creationId xmlns:a16="http://schemas.microsoft.com/office/drawing/2014/main" xmlns="" id="{DC113026-45E8-4026-99BA-44001982101B}"/>
                  </a:ext>
                </a:extLst>
              </p:cNvPr>
              <p:cNvSpPr/>
              <p:nvPr/>
            </p:nvSpPr>
            <p:spPr>
              <a:xfrm flipH="1">
                <a:off x="3778918" y="3543694"/>
                <a:ext cx="943119" cy="2666521"/>
              </a:xfrm>
              <a:custGeom>
                <a:avLst/>
                <a:gdLst>
                  <a:gd name="connsiteX0" fmla="*/ 1226725 w 1226725"/>
                  <a:gd name="connsiteY0" fmla="*/ 0 h 3160408"/>
                  <a:gd name="connsiteX1" fmla="*/ 1188806 w 1226725"/>
                  <a:gd name="connsiteY1" fmla="*/ 7384 h 3160408"/>
                  <a:gd name="connsiteX2" fmla="*/ 0 w 1226725"/>
                  <a:gd name="connsiteY2" fmla="*/ 1580203 h 3160408"/>
                  <a:gd name="connsiteX3" fmla="*/ 1188806 w 1226725"/>
                  <a:gd name="connsiteY3" fmla="*/ 3153023 h 3160408"/>
                  <a:gd name="connsiteX4" fmla="*/ 1226725 w 1226725"/>
                  <a:gd name="connsiteY4" fmla="*/ 3160408 h 31604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26725" h="3160408">
                    <a:moveTo>
                      <a:pt x="1226725" y="0"/>
                    </a:moveTo>
                    <a:lnTo>
                      <a:pt x="1188806" y="7384"/>
                    </a:lnTo>
                    <a:cubicBezTo>
                      <a:pt x="501335" y="209023"/>
                      <a:pt x="0" y="836888"/>
                      <a:pt x="0" y="1580203"/>
                    </a:cubicBezTo>
                    <a:cubicBezTo>
                      <a:pt x="0" y="2323518"/>
                      <a:pt x="501335" y="2951384"/>
                      <a:pt x="1188806" y="3153023"/>
                    </a:cubicBezTo>
                    <a:lnTo>
                      <a:pt x="1226725" y="3160408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12700" cap="flat" cmpd="sng" algn="ctr">
                <a:noFill/>
                <a:prstDash val="solid"/>
              </a:ln>
              <a:effectLst/>
            </p:spPr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AF8E2F"/>
                  </a:solidFill>
                  <a:effectLst/>
                  <a:uLnTx/>
                  <a:uFillTx/>
                  <a:latin typeface="Georgia" panose="02040502050405020303" pitchFamily="18" charset="0"/>
                  <a:ea typeface="+mn-ea"/>
                  <a:cs typeface="+mn-cs"/>
                </a:endParaRPr>
              </a:p>
            </p:txBody>
          </p:sp>
          <p:sp>
            <p:nvSpPr>
              <p:cNvPr id="114" name="Полилиния 113">
                <a:extLst>
                  <a:ext uri="{FF2B5EF4-FFF2-40B4-BE49-F238E27FC236}">
                    <a16:creationId xmlns:a16="http://schemas.microsoft.com/office/drawing/2014/main" xmlns="" id="{DC113026-45E8-4026-99BA-44001982101B}"/>
                  </a:ext>
                </a:extLst>
              </p:cNvPr>
              <p:cNvSpPr/>
              <p:nvPr/>
            </p:nvSpPr>
            <p:spPr>
              <a:xfrm flipH="1">
                <a:off x="3811040" y="3631329"/>
                <a:ext cx="845008" cy="2484703"/>
              </a:xfrm>
              <a:custGeom>
                <a:avLst/>
                <a:gdLst>
                  <a:gd name="connsiteX0" fmla="*/ 1226725 w 1226725"/>
                  <a:gd name="connsiteY0" fmla="*/ 0 h 3160408"/>
                  <a:gd name="connsiteX1" fmla="*/ 1188806 w 1226725"/>
                  <a:gd name="connsiteY1" fmla="*/ 7384 h 3160408"/>
                  <a:gd name="connsiteX2" fmla="*/ 0 w 1226725"/>
                  <a:gd name="connsiteY2" fmla="*/ 1580203 h 3160408"/>
                  <a:gd name="connsiteX3" fmla="*/ 1188806 w 1226725"/>
                  <a:gd name="connsiteY3" fmla="*/ 3153023 h 3160408"/>
                  <a:gd name="connsiteX4" fmla="*/ 1226725 w 1226725"/>
                  <a:gd name="connsiteY4" fmla="*/ 3160408 h 31604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26725" h="3160408">
                    <a:moveTo>
                      <a:pt x="1226725" y="0"/>
                    </a:moveTo>
                    <a:lnTo>
                      <a:pt x="1188806" y="7384"/>
                    </a:lnTo>
                    <a:cubicBezTo>
                      <a:pt x="501335" y="209023"/>
                      <a:pt x="0" y="836888"/>
                      <a:pt x="0" y="1580203"/>
                    </a:cubicBezTo>
                    <a:cubicBezTo>
                      <a:pt x="0" y="2323518"/>
                      <a:pt x="501335" y="2951384"/>
                      <a:pt x="1188806" y="3153023"/>
                    </a:cubicBezTo>
                    <a:lnTo>
                      <a:pt x="1226725" y="3160408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 w="12700" cap="flat" cmpd="sng" algn="ctr">
                <a:noFill/>
                <a:prstDash val="solid"/>
              </a:ln>
              <a:effectLst/>
            </p:spPr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200" b="1" kern="0" dirty="0">
                  <a:solidFill>
                    <a:srgbClr val="AF8E2F"/>
                  </a:solidFill>
                  <a:latin typeface="Georgia" panose="02040502050405020303" pitchFamily="18" charset="0"/>
                  <a:cs typeface="+mn-cs"/>
                </a:endParaRPr>
              </a:p>
            </p:txBody>
          </p:sp>
        </p:grpSp>
        <p:sp>
          <p:nvSpPr>
            <p:cNvPr id="86" name="Freeform 10"/>
            <p:cNvSpPr>
              <a:spLocks/>
            </p:cNvSpPr>
            <p:nvPr/>
          </p:nvSpPr>
          <p:spPr bwMode="auto">
            <a:xfrm>
              <a:off x="3636814" y="2317492"/>
              <a:ext cx="512208" cy="434089"/>
            </a:xfrm>
            <a:custGeom>
              <a:avLst/>
              <a:gdLst>
                <a:gd name="T0" fmla="*/ 143 w 253"/>
                <a:gd name="T1" fmla="*/ 137 h 253"/>
                <a:gd name="T2" fmla="*/ 127 w 253"/>
                <a:gd name="T3" fmla="*/ 141 h 253"/>
                <a:gd name="T4" fmla="*/ 113 w 253"/>
                <a:gd name="T5" fmla="*/ 141 h 253"/>
                <a:gd name="T6" fmla="*/ 205 w 253"/>
                <a:gd name="T7" fmla="*/ 55 h 253"/>
                <a:gd name="T8" fmla="*/ 231 w 253"/>
                <a:gd name="T9" fmla="*/ 54 h 253"/>
                <a:gd name="T10" fmla="*/ 253 w 253"/>
                <a:gd name="T11" fmla="*/ 30 h 253"/>
                <a:gd name="T12" fmla="*/ 231 w 253"/>
                <a:gd name="T13" fmla="*/ 29 h 253"/>
                <a:gd name="T14" fmla="*/ 233 w 253"/>
                <a:gd name="T15" fmla="*/ 20 h 253"/>
                <a:gd name="T16" fmla="*/ 224 w 253"/>
                <a:gd name="T17" fmla="*/ 22 h 253"/>
                <a:gd name="T18" fmla="*/ 223 w 253"/>
                <a:gd name="T19" fmla="*/ 1 h 253"/>
                <a:gd name="T20" fmla="*/ 199 w 253"/>
                <a:gd name="T21" fmla="*/ 23 h 253"/>
                <a:gd name="T22" fmla="*/ 198 w 253"/>
                <a:gd name="T23" fmla="*/ 48 h 253"/>
                <a:gd name="T24" fmla="*/ 116 w 253"/>
                <a:gd name="T25" fmla="*/ 21 h 253"/>
                <a:gd name="T26" fmla="*/ 0 w 253"/>
                <a:gd name="T27" fmla="*/ 137 h 253"/>
                <a:gd name="T28" fmla="*/ 116 w 253"/>
                <a:gd name="T29" fmla="*/ 253 h 253"/>
                <a:gd name="T30" fmla="*/ 232 w 253"/>
                <a:gd name="T31" fmla="*/ 137 h 253"/>
                <a:gd name="T32" fmla="*/ 189 w 253"/>
                <a:gd name="T33" fmla="*/ 80 h 253"/>
                <a:gd name="T34" fmla="*/ 182 w 253"/>
                <a:gd name="T35" fmla="*/ 202 h 253"/>
                <a:gd name="T36" fmla="*/ 51 w 253"/>
                <a:gd name="T37" fmla="*/ 202 h 253"/>
                <a:gd name="T38" fmla="*/ 51 w 253"/>
                <a:gd name="T39" fmla="*/ 72 h 253"/>
                <a:gd name="T40" fmla="*/ 178 w 253"/>
                <a:gd name="T41" fmla="*/ 68 h 253"/>
                <a:gd name="T42" fmla="*/ 116 w 253"/>
                <a:gd name="T43" fmla="*/ 65 h 253"/>
                <a:gd name="T44" fmla="*/ 44 w 253"/>
                <a:gd name="T45" fmla="*/ 137 h 253"/>
                <a:gd name="T46" fmla="*/ 116 w 253"/>
                <a:gd name="T47" fmla="*/ 209 h 253"/>
                <a:gd name="T48" fmla="*/ 188 w 253"/>
                <a:gd name="T49" fmla="*/ 137 h 253"/>
                <a:gd name="T50" fmla="*/ 157 w 253"/>
                <a:gd name="T51" fmla="*/ 112 h 253"/>
                <a:gd name="T52" fmla="*/ 150 w 253"/>
                <a:gd name="T53" fmla="*/ 171 h 253"/>
                <a:gd name="T54" fmla="*/ 82 w 253"/>
                <a:gd name="T55" fmla="*/ 171 h 253"/>
                <a:gd name="T56" fmla="*/ 82 w 253"/>
                <a:gd name="T57" fmla="*/ 103 h 253"/>
                <a:gd name="T58" fmla="*/ 146 w 253"/>
                <a:gd name="T59" fmla="*/ 100 h 253"/>
                <a:gd name="T60" fmla="*/ 116 w 253"/>
                <a:gd name="T61" fmla="*/ 110 h 253"/>
                <a:gd name="T62" fmla="*/ 116 w 253"/>
                <a:gd name="T63" fmla="*/ 164 h 2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253" h="253">
                  <a:moveTo>
                    <a:pt x="116" y="164"/>
                  </a:moveTo>
                  <a:cubicBezTo>
                    <a:pt x="131" y="164"/>
                    <a:pt x="143" y="152"/>
                    <a:pt x="143" y="137"/>
                  </a:cubicBezTo>
                  <a:cubicBezTo>
                    <a:pt x="143" y="134"/>
                    <a:pt x="142" y="130"/>
                    <a:pt x="141" y="127"/>
                  </a:cubicBezTo>
                  <a:cubicBezTo>
                    <a:pt x="127" y="141"/>
                    <a:pt x="127" y="141"/>
                    <a:pt x="127" y="141"/>
                  </a:cubicBezTo>
                  <a:cubicBezTo>
                    <a:pt x="123" y="146"/>
                    <a:pt x="115" y="144"/>
                    <a:pt x="113" y="141"/>
                  </a:cubicBezTo>
                  <a:cubicBezTo>
                    <a:pt x="113" y="141"/>
                    <a:pt x="113" y="141"/>
                    <a:pt x="113" y="141"/>
                  </a:cubicBezTo>
                  <a:cubicBezTo>
                    <a:pt x="115" y="143"/>
                    <a:pt x="118" y="143"/>
                    <a:pt x="120" y="141"/>
                  </a:cubicBezTo>
                  <a:cubicBezTo>
                    <a:pt x="205" y="55"/>
                    <a:pt x="205" y="55"/>
                    <a:pt x="205" y="55"/>
                  </a:cubicBezTo>
                  <a:cubicBezTo>
                    <a:pt x="229" y="55"/>
                    <a:pt x="229" y="55"/>
                    <a:pt x="229" y="55"/>
                  </a:cubicBezTo>
                  <a:cubicBezTo>
                    <a:pt x="230" y="55"/>
                    <a:pt x="230" y="55"/>
                    <a:pt x="231" y="54"/>
                  </a:cubicBezTo>
                  <a:cubicBezTo>
                    <a:pt x="252" y="33"/>
                    <a:pt x="252" y="33"/>
                    <a:pt x="252" y="33"/>
                  </a:cubicBezTo>
                  <a:cubicBezTo>
                    <a:pt x="253" y="32"/>
                    <a:pt x="253" y="31"/>
                    <a:pt x="253" y="30"/>
                  </a:cubicBezTo>
                  <a:cubicBezTo>
                    <a:pt x="252" y="29"/>
                    <a:pt x="251" y="29"/>
                    <a:pt x="250" y="29"/>
                  </a:cubicBezTo>
                  <a:cubicBezTo>
                    <a:pt x="231" y="29"/>
                    <a:pt x="231" y="29"/>
                    <a:pt x="231" y="29"/>
                  </a:cubicBezTo>
                  <a:cubicBezTo>
                    <a:pt x="233" y="27"/>
                    <a:pt x="233" y="27"/>
                    <a:pt x="233" y="27"/>
                  </a:cubicBezTo>
                  <a:cubicBezTo>
                    <a:pt x="235" y="25"/>
                    <a:pt x="235" y="22"/>
                    <a:pt x="233" y="20"/>
                  </a:cubicBezTo>
                  <a:cubicBezTo>
                    <a:pt x="231" y="18"/>
                    <a:pt x="228" y="18"/>
                    <a:pt x="226" y="20"/>
                  </a:cubicBezTo>
                  <a:cubicBezTo>
                    <a:pt x="224" y="22"/>
                    <a:pt x="224" y="22"/>
                    <a:pt x="224" y="22"/>
                  </a:cubicBezTo>
                  <a:cubicBezTo>
                    <a:pt x="224" y="3"/>
                    <a:pt x="224" y="3"/>
                    <a:pt x="224" y="3"/>
                  </a:cubicBezTo>
                  <a:cubicBezTo>
                    <a:pt x="224" y="2"/>
                    <a:pt x="224" y="1"/>
                    <a:pt x="223" y="1"/>
                  </a:cubicBezTo>
                  <a:cubicBezTo>
                    <a:pt x="222" y="0"/>
                    <a:pt x="221" y="0"/>
                    <a:pt x="220" y="1"/>
                  </a:cubicBezTo>
                  <a:cubicBezTo>
                    <a:pt x="199" y="23"/>
                    <a:pt x="199" y="23"/>
                    <a:pt x="199" y="23"/>
                  </a:cubicBezTo>
                  <a:cubicBezTo>
                    <a:pt x="198" y="23"/>
                    <a:pt x="198" y="24"/>
                    <a:pt x="198" y="24"/>
                  </a:cubicBezTo>
                  <a:cubicBezTo>
                    <a:pt x="198" y="48"/>
                    <a:pt x="198" y="48"/>
                    <a:pt x="198" y="48"/>
                  </a:cubicBezTo>
                  <a:cubicBezTo>
                    <a:pt x="195" y="51"/>
                    <a:pt x="195" y="51"/>
                    <a:pt x="195" y="51"/>
                  </a:cubicBezTo>
                  <a:cubicBezTo>
                    <a:pt x="174" y="32"/>
                    <a:pt x="146" y="21"/>
                    <a:pt x="116" y="21"/>
                  </a:cubicBezTo>
                  <a:cubicBezTo>
                    <a:pt x="84" y="21"/>
                    <a:pt x="55" y="34"/>
                    <a:pt x="34" y="55"/>
                  </a:cubicBezTo>
                  <a:cubicBezTo>
                    <a:pt x="13" y="76"/>
                    <a:pt x="0" y="105"/>
                    <a:pt x="0" y="137"/>
                  </a:cubicBezTo>
                  <a:cubicBezTo>
                    <a:pt x="0" y="169"/>
                    <a:pt x="13" y="198"/>
                    <a:pt x="34" y="219"/>
                  </a:cubicBezTo>
                  <a:cubicBezTo>
                    <a:pt x="55" y="240"/>
                    <a:pt x="84" y="253"/>
                    <a:pt x="116" y="253"/>
                  </a:cubicBezTo>
                  <a:cubicBezTo>
                    <a:pt x="148" y="253"/>
                    <a:pt x="177" y="240"/>
                    <a:pt x="198" y="219"/>
                  </a:cubicBezTo>
                  <a:cubicBezTo>
                    <a:pt x="219" y="198"/>
                    <a:pt x="232" y="169"/>
                    <a:pt x="232" y="137"/>
                  </a:cubicBezTo>
                  <a:cubicBezTo>
                    <a:pt x="232" y="109"/>
                    <a:pt x="222" y="83"/>
                    <a:pt x="206" y="63"/>
                  </a:cubicBezTo>
                  <a:cubicBezTo>
                    <a:pt x="189" y="80"/>
                    <a:pt x="189" y="80"/>
                    <a:pt x="189" y="80"/>
                  </a:cubicBezTo>
                  <a:cubicBezTo>
                    <a:pt x="201" y="96"/>
                    <a:pt x="209" y="115"/>
                    <a:pt x="209" y="137"/>
                  </a:cubicBezTo>
                  <a:cubicBezTo>
                    <a:pt x="209" y="162"/>
                    <a:pt x="198" y="186"/>
                    <a:pt x="182" y="202"/>
                  </a:cubicBezTo>
                  <a:cubicBezTo>
                    <a:pt x="165" y="219"/>
                    <a:pt x="142" y="229"/>
                    <a:pt x="116" y="229"/>
                  </a:cubicBezTo>
                  <a:cubicBezTo>
                    <a:pt x="91" y="229"/>
                    <a:pt x="68" y="219"/>
                    <a:pt x="51" y="202"/>
                  </a:cubicBezTo>
                  <a:cubicBezTo>
                    <a:pt x="34" y="186"/>
                    <a:pt x="24" y="162"/>
                    <a:pt x="24" y="137"/>
                  </a:cubicBezTo>
                  <a:cubicBezTo>
                    <a:pt x="24" y="111"/>
                    <a:pt x="34" y="88"/>
                    <a:pt x="51" y="72"/>
                  </a:cubicBezTo>
                  <a:cubicBezTo>
                    <a:pt x="68" y="55"/>
                    <a:pt x="91" y="45"/>
                    <a:pt x="116" y="45"/>
                  </a:cubicBezTo>
                  <a:cubicBezTo>
                    <a:pt x="140" y="45"/>
                    <a:pt x="162" y="53"/>
                    <a:pt x="178" y="68"/>
                  </a:cubicBezTo>
                  <a:cubicBezTo>
                    <a:pt x="163" y="83"/>
                    <a:pt x="163" y="83"/>
                    <a:pt x="163" y="83"/>
                  </a:cubicBezTo>
                  <a:cubicBezTo>
                    <a:pt x="151" y="72"/>
                    <a:pt x="134" y="65"/>
                    <a:pt x="116" y="65"/>
                  </a:cubicBezTo>
                  <a:cubicBezTo>
                    <a:pt x="96" y="65"/>
                    <a:pt x="78" y="73"/>
                    <a:pt x="65" y="86"/>
                  </a:cubicBezTo>
                  <a:cubicBezTo>
                    <a:pt x="52" y="99"/>
                    <a:pt x="44" y="117"/>
                    <a:pt x="44" y="137"/>
                  </a:cubicBezTo>
                  <a:cubicBezTo>
                    <a:pt x="44" y="157"/>
                    <a:pt x="52" y="175"/>
                    <a:pt x="65" y="188"/>
                  </a:cubicBezTo>
                  <a:cubicBezTo>
                    <a:pt x="78" y="201"/>
                    <a:pt x="96" y="209"/>
                    <a:pt x="116" y="209"/>
                  </a:cubicBezTo>
                  <a:cubicBezTo>
                    <a:pt x="136" y="209"/>
                    <a:pt x="154" y="201"/>
                    <a:pt x="167" y="188"/>
                  </a:cubicBezTo>
                  <a:cubicBezTo>
                    <a:pt x="180" y="175"/>
                    <a:pt x="188" y="157"/>
                    <a:pt x="188" y="137"/>
                  </a:cubicBezTo>
                  <a:cubicBezTo>
                    <a:pt x="188" y="121"/>
                    <a:pt x="183" y="106"/>
                    <a:pt x="174" y="95"/>
                  </a:cubicBezTo>
                  <a:cubicBezTo>
                    <a:pt x="157" y="112"/>
                    <a:pt x="157" y="112"/>
                    <a:pt x="157" y="112"/>
                  </a:cubicBezTo>
                  <a:cubicBezTo>
                    <a:pt x="161" y="119"/>
                    <a:pt x="164" y="128"/>
                    <a:pt x="164" y="137"/>
                  </a:cubicBezTo>
                  <a:cubicBezTo>
                    <a:pt x="164" y="150"/>
                    <a:pt x="159" y="162"/>
                    <a:pt x="150" y="171"/>
                  </a:cubicBezTo>
                  <a:cubicBezTo>
                    <a:pt x="141" y="180"/>
                    <a:pt x="129" y="185"/>
                    <a:pt x="116" y="185"/>
                  </a:cubicBezTo>
                  <a:cubicBezTo>
                    <a:pt x="103" y="185"/>
                    <a:pt x="91" y="180"/>
                    <a:pt x="82" y="171"/>
                  </a:cubicBezTo>
                  <a:cubicBezTo>
                    <a:pt x="74" y="162"/>
                    <a:pt x="68" y="150"/>
                    <a:pt x="68" y="137"/>
                  </a:cubicBezTo>
                  <a:cubicBezTo>
                    <a:pt x="68" y="124"/>
                    <a:pt x="74" y="112"/>
                    <a:pt x="82" y="103"/>
                  </a:cubicBezTo>
                  <a:cubicBezTo>
                    <a:pt x="91" y="94"/>
                    <a:pt x="103" y="89"/>
                    <a:pt x="116" y="89"/>
                  </a:cubicBezTo>
                  <a:cubicBezTo>
                    <a:pt x="128" y="89"/>
                    <a:pt x="138" y="93"/>
                    <a:pt x="146" y="100"/>
                  </a:cubicBezTo>
                  <a:cubicBezTo>
                    <a:pt x="131" y="115"/>
                    <a:pt x="131" y="115"/>
                    <a:pt x="131" y="115"/>
                  </a:cubicBezTo>
                  <a:cubicBezTo>
                    <a:pt x="127" y="112"/>
                    <a:pt x="122" y="110"/>
                    <a:pt x="116" y="110"/>
                  </a:cubicBezTo>
                  <a:cubicBezTo>
                    <a:pt x="101" y="110"/>
                    <a:pt x="89" y="122"/>
                    <a:pt x="89" y="137"/>
                  </a:cubicBezTo>
                  <a:cubicBezTo>
                    <a:pt x="89" y="152"/>
                    <a:pt x="101" y="164"/>
                    <a:pt x="116" y="164"/>
                  </a:cubicBezTo>
                  <a:close/>
                </a:path>
              </a:pathLst>
            </a:custGeom>
            <a:solidFill>
              <a:schemeClr val="bg1">
                <a:lumMod val="50000"/>
              </a:schemeClr>
            </a:solidFill>
            <a:ln w="9525">
              <a:noFill/>
              <a:round/>
              <a:headEnd/>
              <a:tailEnd/>
            </a:ln>
            <a:extLst/>
          </p:spPr>
          <p:txBody>
            <a:bodyPr vert="horz" wrap="square" lIns="72809" tIns="36405" rIns="72809" bIns="36405" numCol="1" anchor="t" anchorCtr="0" compatLnSpc="1">
              <a:prstTxWarp prst="textNoShape">
                <a:avLst/>
              </a:prstTxWarp>
            </a:bodyPr>
            <a:lstStyle/>
            <a:p>
              <a:endParaRPr lang="ru-RU" sz="1200" kern="0" dirty="0">
                <a:solidFill>
                  <a:prstClr val="black"/>
                </a:solidFill>
                <a:latin typeface="Arial"/>
              </a:endParaRPr>
            </a:p>
          </p:txBody>
        </p:sp>
        <p:grpSp>
          <p:nvGrpSpPr>
            <p:cNvPr id="87" name="Group 371"/>
            <p:cNvGrpSpPr/>
            <p:nvPr/>
          </p:nvGrpSpPr>
          <p:grpSpPr>
            <a:xfrm>
              <a:off x="4039488" y="2772569"/>
              <a:ext cx="430092" cy="532707"/>
              <a:chOff x="814383" y="5332456"/>
              <a:chExt cx="496884" cy="512767"/>
            </a:xfrm>
            <a:solidFill>
              <a:schemeClr val="accent4">
                <a:lumMod val="60000"/>
                <a:lumOff val="40000"/>
              </a:schemeClr>
            </a:solidFill>
          </p:grpSpPr>
          <p:sp>
            <p:nvSpPr>
              <p:cNvPr id="108" name="Freeform 5"/>
              <p:cNvSpPr>
                <a:spLocks/>
              </p:cNvSpPr>
              <p:nvPr/>
            </p:nvSpPr>
            <p:spPr bwMode="auto">
              <a:xfrm>
                <a:off x="1220781" y="5792834"/>
                <a:ext cx="39686" cy="20638"/>
              </a:xfrm>
              <a:custGeom>
                <a:avLst/>
                <a:gdLst>
                  <a:gd name="T0" fmla="*/ 478 w 644"/>
                  <a:gd name="T1" fmla="*/ 334 h 334"/>
                  <a:gd name="T2" fmla="*/ 167 w 644"/>
                  <a:gd name="T3" fmla="*/ 334 h 334"/>
                  <a:gd name="T4" fmla="*/ 0 w 644"/>
                  <a:gd name="T5" fmla="*/ 167 h 334"/>
                  <a:gd name="T6" fmla="*/ 167 w 644"/>
                  <a:gd name="T7" fmla="*/ 0 h 334"/>
                  <a:gd name="T8" fmla="*/ 478 w 644"/>
                  <a:gd name="T9" fmla="*/ 0 h 334"/>
                  <a:gd name="T10" fmla="*/ 644 w 644"/>
                  <a:gd name="T11" fmla="*/ 167 h 334"/>
                  <a:gd name="T12" fmla="*/ 478 w 644"/>
                  <a:gd name="T13" fmla="*/ 334 h 3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44" h="334">
                    <a:moveTo>
                      <a:pt x="478" y="334"/>
                    </a:moveTo>
                    <a:lnTo>
                      <a:pt x="167" y="334"/>
                    </a:lnTo>
                    <a:cubicBezTo>
                      <a:pt x="75" y="334"/>
                      <a:pt x="0" y="259"/>
                      <a:pt x="0" y="167"/>
                    </a:cubicBezTo>
                    <a:cubicBezTo>
                      <a:pt x="0" y="75"/>
                      <a:pt x="75" y="0"/>
                      <a:pt x="167" y="0"/>
                    </a:cubicBezTo>
                    <a:lnTo>
                      <a:pt x="478" y="0"/>
                    </a:lnTo>
                    <a:cubicBezTo>
                      <a:pt x="570" y="0"/>
                      <a:pt x="644" y="75"/>
                      <a:pt x="644" y="167"/>
                    </a:cubicBezTo>
                    <a:cubicBezTo>
                      <a:pt x="644" y="259"/>
                      <a:pt x="570" y="334"/>
                      <a:pt x="478" y="334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  <a:extLst/>
            </p:spPr>
            <p:txBody>
              <a:bodyPr vert="horz" wrap="square" lIns="72809" tIns="36405" rIns="72809" bIns="36405" numCol="1" anchor="t" anchorCtr="0" compatLnSpc="1">
                <a:prstTxWarp prst="textNoShape">
                  <a:avLst/>
                </a:prstTxWarp>
              </a:bodyPr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200" kern="0" dirty="0">
                  <a:solidFill>
                    <a:prstClr val="black"/>
                  </a:solidFill>
                  <a:latin typeface="Arial"/>
                  <a:cs typeface="+mn-cs"/>
                </a:endParaRPr>
              </a:p>
            </p:txBody>
          </p:sp>
          <p:sp>
            <p:nvSpPr>
              <p:cNvPr id="109" name="Freeform 6"/>
              <p:cNvSpPr>
                <a:spLocks noEditPoints="1"/>
              </p:cNvSpPr>
              <p:nvPr/>
            </p:nvSpPr>
            <p:spPr bwMode="auto">
              <a:xfrm>
                <a:off x="814383" y="5332456"/>
                <a:ext cx="496884" cy="512767"/>
              </a:xfrm>
              <a:custGeom>
                <a:avLst/>
                <a:gdLst>
                  <a:gd name="T0" fmla="*/ 7262 w 8266"/>
                  <a:gd name="T1" fmla="*/ 6027 h 8533"/>
                  <a:gd name="T2" fmla="*/ 7095 w 8266"/>
                  <a:gd name="T3" fmla="*/ 5083 h 8533"/>
                  <a:gd name="T4" fmla="*/ 4438 w 8266"/>
                  <a:gd name="T5" fmla="*/ 4472 h 8533"/>
                  <a:gd name="T6" fmla="*/ 8266 w 8266"/>
                  <a:gd name="T7" fmla="*/ 3260 h 8533"/>
                  <a:gd name="T8" fmla="*/ 7260 w 8266"/>
                  <a:gd name="T9" fmla="*/ 2065 h 8533"/>
                  <a:gd name="T10" fmla="*/ 6059 w 8266"/>
                  <a:gd name="T11" fmla="*/ 836 h 8533"/>
                  <a:gd name="T12" fmla="*/ 4273 w 8266"/>
                  <a:gd name="T13" fmla="*/ 0 h 8533"/>
                  <a:gd name="T14" fmla="*/ 2550 w 8266"/>
                  <a:gd name="T15" fmla="*/ 759 h 8533"/>
                  <a:gd name="T16" fmla="*/ 0 w 8266"/>
                  <a:gd name="T17" fmla="*/ 2984 h 8533"/>
                  <a:gd name="T18" fmla="*/ 190 w 8266"/>
                  <a:gd name="T19" fmla="*/ 3281 h 8533"/>
                  <a:gd name="T20" fmla="*/ 333 w 8266"/>
                  <a:gd name="T21" fmla="*/ 2984 h 8533"/>
                  <a:gd name="T22" fmla="*/ 1550 w 8266"/>
                  <a:gd name="T23" fmla="*/ 1831 h 8533"/>
                  <a:gd name="T24" fmla="*/ 2550 w 8266"/>
                  <a:gd name="T25" fmla="*/ 1092 h 8533"/>
                  <a:gd name="T26" fmla="*/ 3075 w 8266"/>
                  <a:gd name="T27" fmla="*/ 1071 h 8533"/>
                  <a:gd name="T28" fmla="*/ 5507 w 8266"/>
                  <a:gd name="T29" fmla="*/ 1148 h 8533"/>
                  <a:gd name="T30" fmla="*/ 6059 w 8266"/>
                  <a:gd name="T31" fmla="*/ 1169 h 8533"/>
                  <a:gd name="T32" fmla="*/ 6915 w 8266"/>
                  <a:gd name="T33" fmla="*/ 2186 h 8533"/>
                  <a:gd name="T34" fmla="*/ 7075 w 8266"/>
                  <a:gd name="T35" fmla="*/ 2381 h 8533"/>
                  <a:gd name="T36" fmla="*/ 7054 w 8266"/>
                  <a:gd name="T37" fmla="*/ 4138 h 8533"/>
                  <a:gd name="T38" fmla="*/ 985 w 8266"/>
                  <a:gd name="T39" fmla="*/ 4023 h 8533"/>
                  <a:gd name="T40" fmla="*/ 839 w 8266"/>
                  <a:gd name="T41" fmla="*/ 4323 h 8533"/>
                  <a:gd name="T42" fmla="*/ 4104 w 8266"/>
                  <a:gd name="T43" fmla="*/ 4472 h 8533"/>
                  <a:gd name="T44" fmla="*/ 1447 w 8266"/>
                  <a:gd name="T45" fmla="*/ 5083 h 8533"/>
                  <a:gd name="T46" fmla="*/ 1280 w 8266"/>
                  <a:gd name="T47" fmla="*/ 6027 h 8533"/>
                  <a:gd name="T48" fmla="*/ 331 w 8266"/>
                  <a:gd name="T49" fmla="*/ 6194 h 8533"/>
                  <a:gd name="T50" fmla="*/ 498 w 8266"/>
                  <a:gd name="T51" fmla="*/ 7688 h 8533"/>
                  <a:gd name="T52" fmla="*/ 1280 w 8266"/>
                  <a:gd name="T53" fmla="*/ 7896 h 8533"/>
                  <a:gd name="T54" fmla="*/ 922 w 8266"/>
                  <a:gd name="T55" fmla="*/ 8063 h 8533"/>
                  <a:gd name="T56" fmla="*/ 1805 w 8266"/>
                  <a:gd name="T57" fmla="*/ 8230 h 8533"/>
                  <a:gd name="T58" fmla="*/ 1805 w 8266"/>
                  <a:gd name="T59" fmla="*/ 7896 h 8533"/>
                  <a:gd name="T60" fmla="*/ 1613 w 8266"/>
                  <a:gd name="T61" fmla="*/ 7688 h 8533"/>
                  <a:gd name="T62" fmla="*/ 2563 w 8266"/>
                  <a:gd name="T63" fmla="*/ 7521 h 8533"/>
                  <a:gd name="T64" fmla="*/ 2396 w 8266"/>
                  <a:gd name="T65" fmla="*/ 6027 h 8533"/>
                  <a:gd name="T66" fmla="*/ 1613 w 8266"/>
                  <a:gd name="T67" fmla="*/ 5416 h 8533"/>
                  <a:gd name="T68" fmla="*/ 4104 w 8266"/>
                  <a:gd name="T69" fmla="*/ 6027 h 8533"/>
                  <a:gd name="T70" fmla="*/ 3239 w 8266"/>
                  <a:gd name="T71" fmla="*/ 6194 h 8533"/>
                  <a:gd name="T72" fmla="*/ 3006 w 8266"/>
                  <a:gd name="T73" fmla="*/ 8024 h 8533"/>
                  <a:gd name="T74" fmla="*/ 3163 w 8266"/>
                  <a:gd name="T75" fmla="*/ 8247 h 8533"/>
                  <a:gd name="T76" fmla="*/ 5380 w 8266"/>
                  <a:gd name="T77" fmla="*/ 8247 h 8533"/>
                  <a:gd name="T78" fmla="*/ 5533 w 8266"/>
                  <a:gd name="T79" fmla="*/ 8014 h 8533"/>
                  <a:gd name="T80" fmla="*/ 5303 w 8266"/>
                  <a:gd name="T81" fmla="*/ 6194 h 8533"/>
                  <a:gd name="T82" fmla="*/ 4438 w 8266"/>
                  <a:gd name="T83" fmla="*/ 6027 h 8533"/>
                  <a:gd name="T84" fmla="*/ 6929 w 8266"/>
                  <a:gd name="T85" fmla="*/ 5416 h 8533"/>
                  <a:gd name="T86" fmla="*/ 6431 w 8266"/>
                  <a:gd name="T87" fmla="*/ 6027 h 8533"/>
                  <a:gd name="T88" fmla="*/ 6265 w 8266"/>
                  <a:gd name="T89" fmla="*/ 8367 h 8533"/>
                  <a:gd name="T90" fmla="*/ 7759 w 8266"/>
                  <a:gd name="T91" fmla="*/ 8533 h 8533"/>
                  <a:gd name="T92" fmla="*/ 7926 w 8266"/>
                  <a:gd name="T93" fmla="*/ 6194 h 8533"/>
                  <a:gd name="T94" fmla="*/ 2229 w 8266"/>
                  <a:gd name="T95" fmla="*/ 7354 h 8533"/>
                  <a:gd name="T96" fmla="*/ 664 w 8266"/>
                  <a:gd name="T97" fmla="*/ 6360 h 8533"/>
                  <a:gd name="T98" fmla="*/ 2229 w 8266"/>
                  <a:gd name="T99" fmla="*/ 7354 h 8533"/>
                  <a:gd name="T100" fmla="*/ 3523 w 8266"/>
                  <a:gd name="T101" fmla="*/ 7570 h 8533"/>
                  <a:gd name="T102" fmla="*/ 5142 w 8266"/>
                  <a:gd name="T103" fmla="*/ 7914 h 8533"/>
                  <a:gd name="T104" fmla="*/ 4970 w 8266"/>
                  <a:gd name="T105" fmla="*/ 7237 h 8533"/>
                  <a:gd name="T106" fmla="*/ 3572 w 8266"/>
                  <a:gd name="T107" fmla="*/ 6360 h 8533"/>
                  <a:gd name="T108" fmla="*/ 4970 w 8266"/>
                  <a:gd name="T109" fmla="*/ 7237 h 8533"/>
                  <a:gd name="T110" fmla="*/ 6598 w 8266"/>
                  <a:gd name="T111" fmla="*/ 8200 h 8533"/>
                  <a:gd name="T112" fmla="*/ 7593 w 8266"/>
                  <a:gd name="T113" fmla="*/ 6360 h 85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8266" h="8533">
                    <a:moveTo>
                      <a:pt x="7759" y="6027"/>
                    </a:moveTo>
                    <a:lnTo>
                      <a:pt x="7262" y="6027"/>
                    </a:lnTo>
                    <a:lnTo>
                      <a:pt x="7262" y="5249"/>
                    </a:lnTo>
                    <a:cubicBezTo>
                      <a:pt x="7262" y="5157"/>
                      <a:pt x="7187" y="5083"/>
                      <a:pt x="7095" y="5083"/>
                    </a:cubicBezTo>
                    <a:lnTo>
                      <a:pt x="4438" y="5083"/>
                    </a:lnTo>
                    <a:lnTo>
                      <a:pt x="4438" y="4472"/>
                    </a:lnTo>
                    <a:lnTo>
                      <a:pt x="7054" y="4472"/>
                    </a:lnTo>
                    <a:cubicBezTo>
                      <a:pt x="7723" y="4472"/>
                      <a:pt x="8266" y="3928"/>
                      <a:pt x="8266" y="3260"/>
                    </a:cubicBezTo>
                    <a:cubicBezTo>
                      <a:pt x="8266" y="2941"/>
                      <a:pt x="8144" y="2640"/>
                      <a:pt x="7921" y="2412"/>
                    </a:cubicBezTo>
                    <a:cubicBezTo>
                      <a:pt x="7740" y="2227"/>
                      <a:pt x="7510" y="2107"/>
                      <a:pt x="7260" y="2065"/>
                    </a:cubicBezTo>
                    <a:cubicBezTo>
                      <a:pt x="7261" y="2056"/>
                      <a:pt x="7261" y="2046"/>
                      <a:pt x="7261" y="2037"/>
                    </a:cubicBezTo>
                    <a:cubicBezTo>
                      <a:pt x="7261" y="1375"/>
                      <a:pt x="6722" y="836"/>
                      <a:pt x="6059" y="836"/>
                    </a:cubicBezTo>
                    <a:cubicBezTo>
                      <a:pt x="5953" y="836"/>
                      <a:pt x="5848" y="850"/>
                      <a:pt x="5746" y="877"/>
                    </a:cubicBezTo>
                    <a:cubicBezTo>
                      <a:pt x="5455" y="340"/>
                      <a:pt x="4893" y="0"/>
                      <a:pt x="4273" y="0"/>
                    </a:cubicBezTo>
                    <a:cubicBezTo>
                      <a:pt x="3685" y="0"/>
                      <a:pt x="3151" y="301"/>
                      <a:pt x="2847" y="796"/>
                    </a:cubicBezTo>
                    <a:cubicBezTo>
                      <a:pt x="2751" y="771"/>
                      <a:pt x="2651" y="759"/>
                      <a:pt x="2550" y="759"/>
                    </a:cubicBezTo>
                    <a:cubicBezTo>
                      <a:pt x="2066" y="759"/>
                      <a:pt x="1627" y="1056"/>
                      <a:pt x="1442" y="1496"/>
                    </a:cubicBezTo>
                    <a:cubicBezTo>
                      <a:pt x="643" y="1521"/>
                      <a:pt x="0" y="2178"/>
                      <a:pt x="0" y="2984"/>
                    </a:cubicBezTo>
                    <a:cubicBezTo>
                      <a:pt x="0" y="3033"/>
                      <a:pt x="2" y="3082"/>
                      <a:pt x="7" y="3131"/>
                    </a:cubicBezTo>
                    <a:cubicBezTo>
                      <a:pt x="16" y="3223"/>
                      <a:pt x="98" y="3290"/>
                      <a:pt x="190" y="3281"/>
                    </a:cubicBezTo>
                    <a:cubicBezTo>
                      <a:pt x="281" y="3272"/>
                      <a:pt x="348" y="3190"/>
                      <a:pt x="339" y="3099"/>
                    </a:cubicBezTo>
                    <a:cubicBezTo>
                      <a:pt x="335" y="3060"/>
                      <a:pt x="333" y="3022"/>
                      <a:pt x="333" y="2984"/>
                    </a:cubicBezTo>
                    <a:cubicBezTo>
                      <a:pt x="333" y="2347"/>
                      <a:pt x="851" y="1829"/>
                      <a:pt x="1488" y="1829"/>
                    </a:cubicBezTo>
                    <a:cubicBezTo>
                      <a:pt x="1508" y="1829"/>
                      <a:pt x="1529" y="1830"/>
                      <a:pt x="1550" y="1831"/>
                    </a:cubicBezTo>
                    <a:cubicBezTo>
                      <a:pt x="1627" y="1835"/>
                      <a:pt x="1697" y="1786"/>
                      <a:pt x="1719" y="1712"/>
                    </a:cubicBezTo>
                    <a:cubicBezTo>
                      <a:pt x="1827" y="1347"/>
                      <a:pt x="2169" y="1092"/>
                      <a:pt x="2550" y="1092"/>
                    </a:cubicBezTo>
                    <a:cubicBezTo>
                      <a:pt x="2659" y="1092"/>
                      <a:pt x="2765" y="1112"/>
                      <a:pt x="2865" y="1151"/>
                    </a:cubicBezTo>
                    <a:cubicBezTo>
                      <a:pt x="2945" y="1182"/>
                      <a:pt x="3036" y="1147"/>
                      <a:pt x="3075" y="1071"/>
                    </a:cubicBezTo>
                    <a:cubicBezTo>
                      <a:pt x="3305" y="616"/>
                      <a:pt x="3764" y="333"/>
                      <a:pt x="4273" y="333"/>
                    </a:cubicBezTo>
                    <a:cubicBezTo>
                      <a:pt x="4811" y="333"/>
                      <a:pt x="5296" y="653"/>
                      <a:pt x="5507" y="1148"/>
                    </a:cubicBezTo>
                    <a:cubicBezTo>
                      <a:pt x="5543" y="1232"/>
                      <a:pt x="5640" y="1272"/>
                      <a:pt x="5725" y="1236"/>
                    </a:cubicBezTo>
                    <a:cubicBezTo>
                      <a:pt x="5831" y="1192"/>
                      <a:pt x="5943" y="1169"/>
                      <a:pt x="6059" y="1169"/>
                    </a:cubicBezTo>
                    <a:cubicBezTo>
                      <a:pt x="6538" y="1169"/>
                      <a:pt x="6927" y="1559"/>
                      <a:pt x="6927" y="2037"/>
                    </a:cubicBezTo>
                    <a:cubicBezTo>
                      <a:pt x="6927" y="2087"/>
                      <a:pt x="6923" y="2137"/>
                      <a:pt x="6915" y="2186"/>
                    </a:cubicBezTo>
                    <a:cubicBezTo>
                      <a:pt x="6907" y="2234"/>
                      <a:pt x="6919" y="2283"/>
                      <a:pt x="6950" y="2320"/>
                    </a:cubicBezTo>
                    <a:cubicBezTo>
                      <a:pt x="6981" y="2358"/>
                      <a:pt x="7027" y="2380"/>
                      <a:pt x="7075" y="2381"/>
                    </a:cubicBezTo>
                    <a:cubicBezTo>
                      <a:pt x="7548" y="2392"/>
                      <a:pt x="7933" y="2786"/>
                      <a:pt x="7933" y="3260"/>
                    </a:cubicBezTo>
                    <a:cubicBezTo>
                      <a:pt x="7933" y="3744"/>
                      <a:pt x="7539" y="4138"/>
                      <a:pt x="7054" y="4138"/>
                    </a:cubicBezTo>
                    <a:lnTo>
                      <a:pt x="1488" y="4138"/>
                    </a:lnTo>
                    <a:cubicBezTo>
                      <a:pt x="1312" y="4138"/>
                      <a:pt x="1142" y="4100"/>
                      <a:pt x="985" y="4023"/>
                    </a:cubicBezTo>
                    <a:cubicBezTo>
                      <a:pt x="902" y="3983"/>
                      <a:pt x="802" y="4017"/>
                      <a:pt x="762" y="4100"/>
                    </a:cubicBezTo>
                    <a:cubicBezTo>
                      <a:pt x="722" y="4183"/>
                      <a:pt x="756" y="4283"/>
                      <a:pt x="839" y="4323"/>
                    </a:cubicBezTo>
                    <a:cubicBezTo>
                      <a:pt x="1042" y="4422"/>
                      <a:pt x="1261" y="4472"/>
                      <a:pt x="1488" y="4472"/>
                    </a:cubicBezTo>
                    <a:lnTo>
                      <a:pt x="4104" y="4472"/>
                    </a:lnTo>
                    <a:lnTo>
                      <a:pt x="4104" y="5083"/>
                    </a:lnTo>
                    <a:lnTo>
                      <a:pt x="1447" y="5083"/>
                    </a:lnTo>
                    <a:cubicBezTo>
                      <a:pt x="1355" y="5083"/>
                      <a:pt x="1280" y="5157"/>
                      <a:pt x="1280" y="5249"/>
                    </a:cubicBezTo>
                    <a:lnTo>
                      <a:pt x="1280" y="6027"/>
                    </a:lnTo>
                    <a:lnTo>
                      <a:pt x="498" y="6027"/>
                    </a:lnTo>
                    <a:cubicBezTo>
                      <a:pt x="406" y="6027"/>
                      <a:pt x="331" y="6102"/>
                      <a:pt x="331" y="6194"/>
                    </a:cubicBezTo>
                    <a:lnTo>
                      <a:pt x="331" y="7521"/>
                    </a:lnTo>
                    <a:cubicBezTo>
                      <a:pt x="331" y="7613"/>
                      <a:pt x="406" y="7688"/>
                      <a:pt x="498" y="7688"/>
                    </a:cubicBezTo>
                    <a:lnTo>
                      <a:pt x="1280" y="7688"/>
                    </a:lnTo>
                    <a:lnTo>
                      <a:pt x="1280" y="7896"/>
                    </a:lnTo>
                    <a:lnTo>
                      <a:pt x="1089" y="7896"/>
                    </a:lnTo>
                    <a:cubicBezTo>
                      <a:pt x="997" y="7896"/>
                      <a:pt x="922" y="7971"/>
                      <a:pt x="922" y="8063"/>
                    </a:cubicBezTo>
                    <a:cubicBezTo>
                      <a:pt x="922" y="8155"/>
                      <a:pt x="997" y="8230"/>
                      <a:pt x="1089" y="8230"/>
                    </a:cubicBezTo>
                    <a:lnTo>
                      <a:pt x="1805" y="8230"/>
                    </a:lnTo>
                    <a:cubicBezTo>
                      <a:pt x="1897" y="8230"/>
                      <a:pt x="1971" y="8155"/>
                      <a:pt x="1971" y="8063"/>
                    </a:cubicBezTo>
                    <a:cubicBezTo>
                      <a:pt x="1971" y="7971"/>
                      <a:pt x="1897" y="7896"/>
                      <a:pt x="1805" y="7896"/>
                    </a:cubicBezTo>
                    <a:lnTo>
                      <a:pt x="1613" y="7896"/>
                    </a:lnTo>
                    <a:lnTo>
                      <a:pt x="1613" y="7688"/>
                    </a:lnTo>
                    <a:lnTo>
                      <a:pt x="2396" y="7688"/>
                    </a:lnTo>
                    <a:cubicBezTo>
                      <a:pt x="2488" y="7688"/>
                      <a:pt x="2563" y="7613"/>
                      <a:pt x="2563" y="7521"/>
                    </a:cubicBezTo>
                    <a:lnTo>
                      <a:pt x="2563" y="6194"/>
                    </a:lnTo>
                    <a:cubicBezTo>
                      <a:pt x="2563" y="6102"/>
                      <a:pt x="2488" y="6027"/>
                      <a:pt x="2396" y="6027"/>
                    </a:cubicBezTo>
                    <a:lnTo>
                      <a:pt x="1613" y="6027"/>
                    </a:lnTo>
                    <a:lnTo>
                      <a:pt x="1613" y="5416"/>
                    </a:lnTo>
                    <a:lnTo>
                      <a:pt x="4104" y="5416"/>
                    </a:lnTo>
                    <a:lnTo>
                      <a:pt x="4104" y="6027"/>
                    </a:lnTo>
                    <a:lnTo>
                      <a:pt x="3406" y="6027"/>
                    </a:lnTo>
                    <a:cubicBezTo>
                      <a:pt x="3314" y="6027"/>
                      <a:pt x="3239" y="6102"/>
                      <a:pt x="3239" y="6194"/>
                    </a:cubicBezTo>
                    <a:lnTo>
                      <a:pt x="3239" y="7375"/>
                    </a:lnTo>
                    <a:lnTo>
                      <a:pt x="3006" y="8024"/>
                    </a:lnTo>
                    <a:cubicBezTo>
                      <a:pt x="2988" y="8075"/>
                      <a:pt x="2995" y="8132"/>
                      <a:pt x="3026" y="8176"/>
                    </a:cubicBezTo>
                    <a:cubicBezTo>
                      <a:pt x="3058" y="8221"/>
                      <a:pt x="3109" y="8247"/>
                      <a:pt x="3163" y="8247"/>
                    </a:cubicBezTo>
                    <a:lnTo>
                      <a:pt x="5379" y="8247"/>
                    </a:lnTo>
                    <a:cubicBezTo>
                      <a:pt x="5379" y="8247"/>
                      <a:pt x="5380" y="8247"/>
                      <a:pt x="5380" y="8247"/>
                    </a:cubicBezTo>
                    <a:cubicBezTo>
                      <a:pt x="5472" y="8247"/>
                      <a:pt x="5546" y="8172"/>
                      <a:pt x="5546" y="8080"/>
                    </a:cubicBezTo>
                    <a:cubicBezTo>
                      <a:pt x="5546" y="8057"/>
                      <a:pt x="5541" y="8034"/>
                      <a:pt x="5533" y="8014"/>
                    </a:cubicBezTo>
                    <a:lnTo>
                      <a:pt x="5303" y="7375"/>
                    </a:lnTo>
                    <a:lnTo>
                      <a:pt x="5303" y="6194"/>
                    </a:lnTo>
                    <a:cubicBezTo>
                      <a:pt x="5303" y="6102"/>
                      <a:pt x="5228" y="6027"/>
                      <a:pt x="5136" y="6027"/>
                    </a:cubicBezTo>
                    <a:lnTo>
                      <a:pt x="4438" y="6027"/>
                    </a:lnTo>
                    <a:lnTo>
                      <a:pt x="4438" y="5416"/>
                    </a:lnTo>
                    <a:lnTo>
                      <a:pt x="6929" y="5416"/>
                    </a:lnTo>
                    <a:lnTo>
                      <a:pt x="6929" y="6027"/>
                    </a:lnTo>
                    <a:lnTo>
                      <a:pt x="6431" y="6027"/>
                    </a:lnTo>
                    <a:cubicBezTo>
                      <a:pt x="6339" y="6027"/>
                      <a:pt x="6265" y="6102"/>
                      <a:pt x="6265" y="6194"/>
                    </a:cubicBezTo>
                    <a:lnTo>
                      <a:pt x="6265" y="8367"/>
                    </a:lnTo>
                    <a:cubicBezTo>
                      <a:pt x="6265" y="8459"/>
                      <a:pt x="6339" y="8533"/>
                      <a:pt x="6431" y="8533"/>
                    </a:cubicBezTo>
                    <a:lnTo>
                      <a:pt x="7759" y="8533"/>
                    </a:lnTo>
                    <a:cubicBezTo>
                      <a:pt x="7851" y="8533"/>
                      <a:pt x="7926" y="8459"/>
                      <a:pt x="7926" y="8367"/>
                    </a:cubicBezTo>
                    <a:lnTo>
                      <a:pt x="7926" y="6194"/>
                    </a:lnTo>
                    <a:cubicBezTo>
                      <a:pt x="7926" y="6102"/>
                      <a:pt x="7851" y="6027"/>
                      <a:pt x="7759" y="6027"/>
                    </a:cubicBezTo>
                    <a:close/>
                    <a:moveTo>
                      <a:pt x="2229" y="7354"/>
                    </a:moveTo>
                    <a:lnTo>
                      <a:pt x="664" y="7354"/>
                    </a:lnTo>
                    <a:lnTo>
                      <a:pt x="664" y="6360"/>
                    </a:lnTo>
                    <a:lnTo>
                      <a:pt x="2229" y="6360"/>
                    </a:lnTo>
                    <a:lnTo>
                      <a:pt x="2229" y="7354"/>
                    </a:lnTo>
                    <a:close/>
                    <a:moveTo>
                      <a:pt x="3400" y="7914"/>
                    </a:moveTo>
                    <a:lnTo>
                      <a:pt x="3523" y="7570"/>
                    </a:lnTo>
                    <a:lnTo>
                      <a:pt x="5019" y="7570"/>
                    </a:lnTo>
                    <a:lnTo>
                      <a:pt x="5142" y="7914"/>
                    </a:lnTo>
                    <a:lnTo>
                      <a:pt x="3400" y="7914"/>
                    </a:lnTo>
                    <a:close/>
                    <a:moveTo>
                      <a:pt x="4970" y="7237"/>
                    </a:moveTo>
                    <a:lnTo>
                      <a:pt x="3572" y="7237"/>
                    </a:lnTo>
                    <a:lnTo>
                      <a:pt x="3572" y="6360"/>
                    </a:lnTo>
                    <a:lnTo>
                      <a:pt x="4970" y="6360"/>
                    </a:lnTo>
                    <a:lnTo>
                      <a:pt x="4970" y="7237"/>
                    </a:lnTo>
                    <a:close/>
                    <a:moveTo>
                      <a:pt x="7593" y="8200"/>
                    </a:moveTo>
                    <a:lnTo>
                      <a:pt x="6598" y="8200"/>
                    </a:lnTo>
                    <a:lnTo>
                      <a:pt x="6598" y="6360"/>
                    </a:lnTo>
                    <a:lnTo>
                      <a:pt x="7593" y="6360"/>
                    </a:lnTo>
                    <a:lnTo>
                      <a:pt x="7593" y="8200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9525">
                <a:noFill/>
                <a:round/>
                <a:headEnd/>
                <a:tailEnd/>
              </a:ln>
              <a:extLst/>
            </p:spPr>
            <p:txBody>
              <a:bodyPr vert="horz" wrap="square" lIns="72809" tIns="36405" rIns="72809" bIns="36405" numCol="1" anchor="t" anchorCtr="0" compatLnSpc="1">
                <a:prstTxWarp prst="textNoShape">
                  <a:avLst/>
                </a:prstTxWarp>
              </a:bodyPr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200" kern="0" dirty="0">
                  <a:solidFill>
                    <a:prstClr val="black"/>
                  </a:solidFill>
                  <a:latin typeface="Arial"/>
                  <a:cs typeface="+mn-cs"/>
                </a:endParaRPr>
              </a:p>
            </p:txBody>
          </p:sp>
          <p:sp>
            <p:nvSpPr>
              <p:cNvPr id="110" name="Freeform 7"/>
              <p:cNvSpPr>
                <a:spLocks/>
              </p:cNvSpPr>
              <p:nvPr/>
            </p:nvSpPr>
            <p:spPr bwMode="auto">
              <a:xfrm>
                <a:off x="998532" y="5413419"/>
                <a:ext cx="66675" cy="141289"/>
              </a:xfrm>
              <a:custGeom>
                <a:avLst/>
                <a:gdLst>
                  <a:gd name="T0" fmla="*/ 557 w 1114"/>
                  <a:gd name="T1" fmla="*/ 0 h 2342"/>
                  <a:gd name="T2" fmla="*/ 390 w 1114"/>
                  <a:gd name="T3" fmla="*/ 167 h 2342"/>
                  <a:gd name="T4" fmla="*/ 390 w 1114"/>
                  <a:gd name="T5" fmla="*/ 1773 h 2342"/>
                  <a:gd name="T6" fmla="*/ 301 w 1114"/>
                  <a:gd name="T7" fmla="*/ 1684 h 2342"/>
                  <a:gd name="T8" fmla="*/ 65 w 1114"/>
                  <a:gd name="T9" fmla="*/ 1684 h 2342"/>
                  <a:gd name="T10" fmla="*/ 65 w 1114"/>
                  <a:gd name="T11" fmla="*/ 1920 h 2342"/>
                  <a:gd name="T12" fmla="*/ 439 w 1114"/>
                  <a:gd name="T13" fmla="*/ 2293 h 2342"/>
                  <a:gd name="T14" fmla="*/ 440 w 1114"/>
                  <a:gd name="T15" fmla="*/ 2295 h 2342"/>
                  <a:gd name="T16" fmla="*/ 440 w 1114"/>
                  <a:gd name="T17" fmla="*/ 2295 h 2342"/>
                  <a:gd name="T18" fmla="*/ 441 w 1114"/>
                  <a:gd name="T19" fmla="*/ 2295 h 2342"/>
                  <a:gd name="T20" fmla="*/ 494 w 1114"/>
                  <a:gd name="T21" fmla="*/ 2330 h 2342"/>
                  <a:gd name="T22" fmla="*/ 557 w 1114"/>
                  <a:gd name="T23" fmla="*/ 2342 h 2342"/>
                  <a:gd name="T24" fmla="*/ 622 w 1114"/>
                  <a:gd name="T25" fmla="*/ 2329 h 2342"/>
                  <a:gd name="T26" fmla="*/ 673 w 1114"/>
                  <a:gd name="T27" fmla="*/ 2295 h 2342"/>
                  <a:gd name="T28" fmla="*/ 673 w 1114"/>
                  <a:gd name="T29" fmla="*/ 2295 h 2342"/>
                  <a:gd name="T30" fmla="*/ 673 w 1114"/>
                  <a:gd name="T31" fmla="*/ 2295 h 2342"/>
                  <a:gd name="T32" fmla="*/ 675 w 1114"/>
                  <a:gd name="T33" fmla="*/ 2293 h 2342"/>
                  <a:gd name="T34" fmla="*/ 1049 w 1114"/>
                  <a:gd name="T35" fmla="*/ 1920 h 2342"/>
                  <a:gd name="T36" fmla="*/ 1049 w 1114"/>
                  <a:gd name="T37" fmla="*/ 1684 h 2342"/>
                  <a:gd name="T38" fmla="*/ 813 w 1114"/>
                  <a:gd name="T39" fmla="*/ 1684 h 2342"/>
                  <a:gd name="T40" fmla="*/ 723 w 1114"/>
                  <a:gd name="T41" fmla="*/ 1773 h 2342"/>
                  <a:gd name="T42" fmla="*/ 723 w 1114"/>
                  <a:gd name="T43" fmla="*/ 167 h 2342"/>
                  <a:gd name="T44" fmla="*/ 557 w 1114"/>
                  <a:gd name="T45" fmla="*/ 0 h 23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1114" h="2342">
                    <a:moveTo>
                      <a:pt x="557" y="0"/>
                    </a:moveTo>
                    <a:cubicBezTo>
                      <a:pt x="465" y="0"/>
                      <a:pt x="390" y="75"/>
                      <a:pt x="390" y="167"/>
                    </a:cubicBezTo>
                    <a:lnTo>
                      <a:pt x="390" y="1773"/>
                    </a:lnTo>
                    <a:lnTo>
                      <a:pt x="301" y="1684"/>
                    </a:lnTo>
                    <a:cubicBezTo>
                      <a:pt x="236" y="1619"/>
                      <a:pt x="130" y="1619"/>
                      <a:pt x="65" y="1684"/>
                    </a:cubicBezTo>
                    <a:cubicBezTo>
                      <a:pt x="0" y="1749"/>
                      <a:pt x="0" y="1854"/>
                      <a:pt x="65" y="1920"/>
                    </a:cubicBezTo>
                    <a:lnTo>
                      <a:pt x="439" y="2293"/>
                    </a:lnTo>
                    <a:lnTo>
                      <a:pt x="440" y="2295"/>
                    </a:lnTo>
                    <a:cubicBezTo>
                      <a:pt x="440" y="2295"/>
                      <a:pt x="440" y="2295"/>
                      <a:pt x="440" y="2295"/>
                    </a:cubicBezTo>
                    <a:lnTo>
                      <a:pt x="441" y="2295"/>
                    </a:lnTo>
                    <a:cubicBezTo>
                      <a:pt x="456" y="2311"/>
                      <a:pt x="475" y="2322"/>
                      <a:pt x="494" y="2330"/>
                    </a:cubicBezTo>
                    <a:cubicBezTo>
                      <a:pt x="513" y="2338"/>
                      <a:pt x="535" y="2342"/>
                      <a:pt x="557" y="2342"/>
                    </a:cubicBezTo>
                    <a:cubicBezTo>
                      <a:pt x="580" y="2342"/>
                      <a:pt x="602" y="2338"/>
                      <a:pt x="622" y="2329"/>
                    </a:cubicBezTo>
                    <a:cubicBezTo>
                      <a:pt x="641" y="2321"/>
                      <a:pt x="658" y="2310"/>
                      <a:pt x="673" y="2295"/>
                    </a:cubicBezTo>
                    <a:cubicBezTo>
                      <a:pt x="673" y="2295"/>
                      <a:pt x="673" y="2295"/>
                      <a:pt x="673" y="2295"/>
                    </a:cubicBezTo>
                    <a:cubicBezTo>
                      <a:pt x="673" y="2295"/>
                      <a:pt x="673" y="2295"/>
                      <a:pt x="673" y="2295"/>
                    </a:cubicBezTo>
                    <a:lnTo>
                      <a:pt x="675" y="2293"/>
                    </a:lnTo>
                    <a:lnTo>
                      <a:pt x="1049" y="1920"/>
                    </a:lnTo>
                    <a:cubicBezTo>
                      <a:pt x="1114" y="1854"/>
                      <a:pt x="1114" y="1749"/>
                      <a:pt x="1049" y="1684"/>
                    </a:cubicBezTo>
                    <a:cubicBezTo>
                      <a:pt x="984" y="1619"/>
                      <a:pt x="878" y="1619"/>
                      <a:pt x="813" y="1684"/>
                    </a:cubicBezTo>
                    <a:lnTo>
                      <a:pt x="723" y="1773"/>
                    </a:lnTo>
                    <a:lnTo>
                      <a:pt x="723" y="167"/>
                    </a:lnTo>
                    <a:cubicBezTo>
                      <a:pt x="723" y="75"/>
                      <a:pt x="649" y="0"/>
                      <a:pt x="557" y="0"/>
                    </a:cubicBez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9525">
                <a:noFill/>
                <a:round/>
                <a:headEnd/>
                <a:tailEnd/>
              </a:ln>
              <a:extLst/>
            </p:spPr>
            <p:txBody>
              <a:bodyPr vert="horz" wrap="square" lIns="72809" tIns="36405" rIns="72809" bIns="36405" numCol="1" anchor="t" anchorCtr="0" compatLnSpc="1">
                <a:prstTxWarp prst="textNoShape">
                  <a:avLst/>
                </a:prstTxWarp>
              </a:bodyPr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200" kern="0" dirty="0">
                  <a:solidFill>
                    <a:prstClr val="black"/>
                  </a:solidFill>
                  <a:latin typeface="Arial"/>
                  <a:cs typeface="+mn-cs"/>
                </a:endParaRPr>
              </a:p>
            </p:txBody>
          </p:sp>
          <p:sp>
            <p:nvSpPr>
              <p:cNvPr id="111" name="Freeform 8"/>
              <p:cNvSpPr>
                <a:spLocks/>
              </p:cNvSpPr>
              <p:nvPr/>
            </p:nvSpPr>
            <p:spPr bwMode="auto">
              <a:xfrm>
                <a:off x="1060443" y="5413414"/>
                <a:ext cx="66675" cy="141289"/>
              </a:xfrm>
              <a:custGeom>
                <a:avLst/>
                <a:gdLst>
                  <a:gd name="T0" fmla="*/ 557 w 1113"/>
                  <a:gd name="T1" fmla="*/ 2342 h 2342"/>
                  <a:gd name="T2" fmla="*/ 723 w 1113"/>
                  <a:gd name="T3" fmla="*/ 2176 h 2342"/>
                  <a:gd name="T4" fmla="*/ 723 w 1113"/>
                  <a:gd name="T5" fmla="*/ 569 h 2342"/>
                  <a:gd name="T6" fmla="*/ 813 w 1113"/>
                  <a:gd name="T7" fmla="*/ 659 h 2342"/>
                  <a:gd name="T8" fmla="*/ 1048 w 1113"/>
                  <a:gd name="T9" fmla="*/ 659 h 2342"/>
                  <a:gd name="T10" fmla="*/ 1048 w 1113"/>
                  <a:gd name="T11" fmla="*/ 423 h 2342"/>
                  <a:gd name="T12" fmla="*/ 675 w 1113"/>
                  <a:gd name="T13" fmla="*/ 49 h 2342"/>
                  <a:gd name="T14" fmla="*/ 557 w 1113"/>
                  <a:gd name="T15" fmla="*/ 0 h 2342"/>
                  <a:gd name="T16" fmla="*/ 557 w 1113"/>
                  <a:gd name="T17" fmla="*/ 0 h 2342"/>
                  <a:gd name="T18" fmla="*/ 556 w 1113"/>
                  <a:gd name="T19" fmla="*/ 0 h 2342"/>
                  <a:gd name="T20" fmla="*/ 441 w 1113"/>
                  <a:gd name="T21" fmla="*/ 47 h 2342"/>
                  <a:gd name="T22" fmla="*/ 441 w 1113"/>
                  <a:gd name="T23" fmla="*/ 47 h 2342"/>
                  <a:gd name="T24" fmla="*/ 441 w 1113"/>
                  <a:gd name="T25" fmla="*/ 47 h 2342"/>
                  <a:gd name="T26" fmla="*/ 441 w 1113"/>
                  <a:gd name="T27" fmla="*/ 47 h 2342"/>
                  <a:gd name="T28" fmla="*/ 441 w 1113"/>
                  <a:gd name="T29" fmla="*/ 47 h 2342"/>
                  <a:gd name="T30" fmla="*/ 439 w 1113"/>
                  <a:gd name="T31" fmla="*/ 49 h 2342"/>
                  <a:gd name="T32" fmla="*/ 65 w 1113"/>
                  <a:gd name="T33" fmla="*/ 423 h 2342"/>
                  <a:gd name="T34" fmla="*/ 65 w 1113"/>
                  <a:gd name="T35" fmla="*/ 659 h 2342"/>
                  <a:gd name="T36" fmla="*/ 300 w 1113"/>
                  <a:gd name="T37" fmla="*/ 659 h 2342"/>
                  <a:gd name="T38" fmla="*/ 390 w 1113"/>
                  <a:gd name="T39" fmla="*/ 569 h 2342"/>
                  <a:gd name="T40" fmla="*/ 390 w 1113"/>
                  <a:gd name="T41" fmla="*/ 2176 h 2342"/>
                  <a:gd name="T42" fmla="*/ 557 w 1113"/>
                  <a:gd name="T43" fmla="*/ 2342 h 23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113" h="2342">
                    <a:moveTo>
                      <a:pt x="557" y="2342"/>
                    </a:moveTo>
                    <a:cubicBezTo>
                      <a:pt x="649" y="2342"/>
                      <a:pt x="723" y="2268"/>
                      <a:pt x="723" y="2176"/>
                    </a:cubicBezTo>
                    <a:lnTo>
                      <a:pt x="723" y="569"/>
                    </a:lnTo>
                    <a:lnTo>
                      <a:pt x="813" y="659"/>
                    </a:lnTo>
                    <a:cubicBezTo>
                      <a:pt x="878" y="724"/>
                      <a:pt x="983" y="724"/>
                      <a:pt x="1048" y="659"/>
                    </a:cubicBezTo>
                    <a:cubicBezTo>
                      <a:pt x="1113" y="594"/>
                      <a:pt x="1113" y="488"/>
                      <a:pt x="1048" y="423"/>
                    </a:cubicBezTo>
                    <a:lnTo>
                      <a:pt x="675" y="49"/>
                    </a:lnTo>
                    <a:cubicBezTo>
                      <a:pt x="644" y="19"/>
                      <a:pt x="603" y="1"/>
                      <a:pt x="557" y="0"/>
                    </a:cubicBezTo>
                    <a:lnTo>
                      <a:pt x="557" y="0"/>
                    </a:lnTo>
                    <a:lnTo>
                      <a:pt x="556" y="0"/>
                    </a:lnTo>
                    <a:cubicBezTo>
                      <a:pt x="512" y="0"/>
                      <a:pt x="471" y="18"/>
                      <a:pt x="441" y="47"/>
                    </a:cubicBezTo>
                    <a:cubicBezTo>
                      <a:pt x="441" y="47"/>
                      <a:pt x="441" y="47"/>
                      <a:pt x="441" y="47"/>
                    </a:cubicBezTo>
                    <a:lnTo>
                      <a:pt x="441" y="47"/>
                    </a:lnTo>
                    <a:cubicBezTo>
                      <a:pt x="441" y="47"/>
                      <a:pt x="441" y="47"/>
                      <a:pt x="441" y="47"/>
                    </a:cubicBezTo>
                    <a:lnTo>
                      <a:pt x="441" y="47"/>
                    </a:lnTo>
                    <a:cubicBezTo>
                      <a:pt x="440" y="48"/>
                      <a:pt x="439" y="49"/>
                      <a:pt x="439" y="49"/>
                    </a:cubicBezTo>
                    <a:lnTo>
                      <a:pt x="65" y="423"/>
                    </a:lnTo>
                    <a:cubicBezTo>
                      <a:pt x="0" y="488"/>
                      <a:pt x="0" y="594"/>
                      <a:pt x="65" y="659"/>
                    </a:cubicBezTo>
                    <a:cubicBezTo>
                      <a:pt x="130" y="724"/>
                      <a:pt x="235" y="724"/>
                      <a:pt x="300" y="659"/>
                    </a:cubicBezTo>
                    <a:lnTo>
                      <a:pt x="390" y="569"/>
                    </a:lnTo>
                    <a:lnTo>
                      <a:pt x="390" y="2176"/>
                    </a:lnTo>
                    <a:cubicBezTo>
                      <a:pt x="390" y="2268"/>
                      <a:pt x="464" y="2342"/>
                      <a:pt x="557" y="2342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  <a:extLst/>
            </p:spPr>
            <p:txBody>
              <a:bodyPr vert="horz" wrap="square" lIns="72809" tIns="36405" rIns="72809" bIns="36405" numCol="1" anchor="t" anchorCtr="0" compatLnSpc="1">
                <a:prstTxWarp prst="textNoShape">
                  <a:avLst/>
                </a:prstTxWarp>
              </a:bodyPr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200" kern="0" dirty="0">
                  <a:solidFill>
                    <a:prstClr val="black"/>
                  </a:solidFill>
                  <a:latin typeface="Arial"/>
                  <a:cs typeface="+mn-cs"/>
                </a:endParaRPr>
              </a:p>
            </p:txBody>
          </p:sp>
          <p:sp>
            <p:nvSpPr>
              <p:cNvPr id="112" name="Oval 9"/>
              <p:cNvSpPr>
                <a:spLocks noChangeArrowheads="1"/>
              </p:cNvSpPr>
              <p:nvPr/>
            </p:nvSpPr>
            <p:spPr bwMode="auto">
              <a:xfrm>
                <a:off x="828675" y="5546725"/>
                <a:ext cx="20637" cy="20638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  <a:extLst/>
            </p:spPr>
            <p:txBody>
              <a:bodyPr vert="horz" wrap="square" lIns="72809" tIns="36405" rIns="72809" bIns="36405" numCol="1" anchor="t" anchorCtr="0" compatLnSpc="1">
                <a:prstTxWarp prst="textNoShape">
                  <a:avLst/>
                </a:prstTxWarp>
              </a:bodyPr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200" kern="0" dirty="0">
                  <a:solidFill>
                    <a:prstClr val="black"/>
                  </a:solidFill>
                  <a:latin typeface="Arial"/>
                  <a:cs typeface="+mn-cs"/>
                </a:endParaRPr>
              </a:p>
            </p:txBody>
          </p:sp>
        </p:grpSp>
        <p:grpSp>
          <p:nvGrpSpPr>
            <p:cNvPr id="88" name="Группа 87"/>
            <p:cNvGrpSpPr/>
            <p:nvPr/>
          </p:nvGrpSpPr>
          <p:grpSpPr>
            <a:xfrm>
              <a:off x="4130047" y="3506067"/>
              <a:ext cx="489271" cy="513691"/>
              <a:chOff x="2754499" y="3438504"/>
              <a:chExt cx="329756" cy="425849"/>
            </a:xfrm>
          </p:grpSpPr>
          <p:sp>
            <p:nvSpPr>
              <p:cNvPr id="104" name="Shape 3606">
                <a:extLst>
                  <a:ext uri="{FF2B5EF4-FFF2-40B4-BE49-F238E27FC236}">
                    <a16:creationId xmlns:a16="http://schemas.microsoft.com/office/drawing/2014/main" xmlns="" id="{07BA3EF4-1401-4549-88B1-7D29FD623842}"/>
                  </a:ext>
                </a:extLst>
              </p:cNvPr>
              <p:cNvSpPr/>
              <p:nvPr/>
            </p:nvSpPr>
            <p:spPr>
              <a:xfrm>
                <a:off x="2754499" y="3438504"/>
                <a:ext cx="329756" cy="378695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800" y="8836"/>
                    </a:moveTo>
                    <a:lnTo>
                      <a:pt x="10800" y="5967"/>
                    </a:lnTo>
                    <a:lnTo>
                      <a:pt x="13929" y="8836"/>
                    </a:lnTo>
                    <a:cubicBezTo>
                      <a:pt x="13929" y="8836"/>
                      <a:pt x="10800" y="8836"/>
                      <a:pt x="10800" y="8836"/>
                    </a:cubicBezTo>
                    <a:close/>
                    <a:moveTo>
                      <a:pt x="14400" y="19636"/>
                    </a:moveTo>
                    <a:cubicBezTo>
                      <a:pt x="14400" y="20179"/>
                      <a:pt x="13862" y="20618"/>
                      <a:pt x="13200" y="20618"/>
                    </a:cubicBezTo>
                    <a:lnTo>
                      <a:pt x="2400" y="20618"/>
                    </a:lnTo>
                    <a:cubicBezTo>
                      <a:pt x="1738" y="20618"/>
                      <a:pt x="1200" y="20179"/>
                      <a:pt x="1200" y="19636"/>
                    </a:cubicBezTo>
                    <a:lnTo>
                      <a:pt x="1200" y="6873"/>
                    </a:lnTo>
                    <a:cubicBezTo>
                      <a:pt x="1200" y="6331"/>
                      <a:pt x="1738" y="5891"/>
                      <a:pt x="2400" y="5891"/>
                    </a:cubicBezTo>
                    <a:lnTo>
                      <a:pt x="9600" y="5891"/>
                    </a:lnTo>
                    <a:lnTo>
                      <a:pt x="9600" y="8836"/>
                    </a:lnTo>
                    <a:cubicBezTo>
                      <a:pt x="9600" y="9378"/>
                      <a:pt x="10138" y="9818"/>
                      <a:pt x="10800" y="9818"/>
                    </a:cubicBezTo>
                    <a:lnTo>
                      <a:pt x="14400" y="9818"/>
                    </a:lnTo>
                    <a:cubicBezTo>
                      <a:pt x="14400" y="9818"/>
                      <a:pt x="14400" y="19636"/>
                      <a:pt x="14400" y="19636"/>
                    </a:cubicBezTo>
                    <a:close/>
                    <a:moveTo>
                      <a:pt x="2400" y="4909"/>
                    </a:moveTo>
                    <a:cubicBezTo>
                      <a:pt x="1075" y="4909"/>
                      <a:pt x="0" y="5788"/>
                      <a:pt x="0" y="6873"/>
                    </a:cubicBezTo>
                    <a:lnTo>
                      <a:pt x="0" y="19636"/>
                    </a:lnTo>
                    <a:cubicBezTo>
                      <a:pt x="0" y="20721"/>
                      <a:pt x="1075" y="21600"/>
                      <a:pt x="2400" y="21600"/>
                    </a:cubicBezTo>
                    <a:lnTo>
                      <a:pt x="13200" y="21600"/>
                    </a:lnTo>
                    <a:cubicBezTo>
                      <a:pt x="14525" y="21600"/>
                      <a:pt x="15600" y="20721"/>
                      <a:pt x="15600" y="19636"/>
                    </a:cubicBezTo>
                    <a:lnTo>
                      <a:pt x="15600" y="8836"/>
                    </a:lnTo>
                    <a:lnTo>
                      <a:pt x="11400" y="4909"/>
                    </a:lnTo>
                    <a:cubicBezTo>
                      <a:pt x="11400" y="4909"/>
                      <a:pt x="2400" y="4909"/>
                      <a:pt x="2400" y="4909"/>
                    </a:cubicBezTo>
                    <a:close/>
                    <a:moveTo>
                      <a:pt x="16800" y="3927"/>
                    </a:moveTo>
                    <a:lnTo>
                      <a:pt x="16800" y="1058"/>
                    </a:lnTo>
                    <a:lnTo>
                      <a:pt x="19929" y="3927"/>
                    </a:lnTo>
                    <a:cubicBezTo>
                      <a:pt x="19929" y="3927"/>
                      <a:pt x="16800" y="3927"/>
                      <a:pt x="16800" y="3927"/>
                    </a:cubicBezTo>
                    <a:close/>
                    <a:moveTo>
                      <a:pt x="17400" y="0"/>
                    </a:moveTo>
                    <a:lnTo>
                      <a:pt x="8400" y="0"/>
                    </a:lnTo>
                    <a:cubicBezTo>
                      <a:pt x="7075" y="0"/>
                      <a:pt x="6000" y="879"/>
                      <a:pt x="6000" y="1964"/>
                    </a:cubicBezTo>
                    <a:lnTo>
                      <a:pt x="6000" y="3436"/>
                    </a:lnTo>
                    <a:cubicBezTo>
                      <a:pt x="6000" y="3708"/>
                      <a:pt x="6268" y="3927"/>
                      <a:pt x="6600" y="3927"/>
                    </a:cubicBezTo>
                    <a:cubicBezTo>
                      <a:pt x="6932" y="3927"/>
                      <a:pt x="7200" y="3708"/>
                      <a:pt x="7200" y="3436"/>
                    </a:cubicBezTo>
                    <a:lnTo>
                      <a:pt x="7200" y="1964"/>
                    </a:lnTo>
                    <a:cubicBezTo>
                      <a:pt x="7200" y="1422"/>
                      <a:pt x="7738" y="982"/>
                      <a:pt x="8400" y="982"/>
                    </a:cubicBezTo>
                    <a:lnTo>
                      <a:pt x="15600" y="982"/>
                    </a:lnTo>
                    <a:lnTo>
                      <a:pt x="15600" y="3927"/>
                    </a:lnTo>
                    <a:cubicBezTo>
                      <a:pt x="15600" y="4469"/>
                      <a:pt x="16138" y="4909"/>
                      <a:pt x="16800" y="4909"/>
                    </a:cubicBezTo>
                    <a:lnTo>
                      <a:pt x="20400" y="4909"/>
                    </a:lnTo>
                    <a:lnTo>
                      <a:pt x="20400" y="14727"/>
                    </a:lnTo>
                    <a:cubicBezTo>
                      <a:pt x="20400" y="15269"/>
                      <a:pt x="19862" y="15709"/>
                      <a:pt x="19200" y="15709"/>
                    </a:cubicBezTo>
                    <a:lnTo>
                      <a:pt x="17400" y="15709"/>
                    </a:lnTo>
                    <a:cubicBezTo>
                      <a:pt x="17068" y="15709"/>
                      <a:pt x="16800" y="15929"/>
                      <a:pt x="16800" y="16200"/>
                    </a:cubicBezTo>
                    <a:cubicBezTo>
                      <a:pt x="16800" y="16472"/>
                      <a:pt x="17068" y="16691"/>
                      <a:pt x="17400" y="16691"/>
                    </a:cubicBezTo>
                    <a:lnTo>
                      <a:pt x="19200" y="16691"/>
                    </a:lnTo>
                    <a:cubicBezTo>
                      <a:pt x="20525" y="16691"/>
                      <a:pt x="21600" y="15812"/>
                      <a:pt x="21600" y="14727"/>
                    </a:cubicBezTo>
                    <a:lnTo>
                      <a:pt x="21600" y="3927"/>
                    </a:lnTo>
                    <a:cubicBezTo>
                      <a:pt x="21600" y="3927"/>
                      <a:pt x="17400" y="0"/>
                      <a:pt x="17400" y="0"/>
                    </a:cubicBezTo>
                    <a:close/>
                    <a:moveTo>
                      <a:pt x="3600" y="12273"/>
                    </a:moveTo>
                    <a:cubicBezTo>
                      <a:pt x="3600" y="12544"/>
                      <a:pt x="3868" y="12764"/>
                      <a:pt x="4200" y="12764"/>
                    </a:cubicBezTo>
                    <a:lnTo>
                      <a:pt x="11400" y="12764"/>
                    </a:lnTo>
                    <a:cubicBezTo>
                      <a:pt x="11732" y="12764"/>
                      <a:pt x="12000" y="12544"/>
                      <a:pt x="12000" y="12273"/>
                    </a:cubicBezTo>
                    <a:cubicBezTo>
                      <a:pt x="12000" y="12002"/>
                      <a:pt x="11732" y="11782"/>
                      <a:pt x="11400" y="11782"/>
                    </a:cubicBezTo>
                    <a:lnTo>
                      <a:pt x="4200" y="11782"/>
                    </a:lnTo>
                    <a:cubicBezTo>
                      <a:pt x="3868" y="11782"/>
                      <a:pt x="3600" y="12002"/>
                      <a:pt x="3600" y="12273"/>
                    </a:cubicBezTo>
                    <a:moveTo>
                      <a:pt x="4200" y="9818"/>
                    </a:moveTo>
                    <a:lnTo>
                      <a:pt x="6600" y="9818"/>
                    </a:lnTo>
                    <a:cubicBezTo>
                      <a:pt x="6932" y="9818"/>
                      <a:pt x="7200" y="9599"/>
                      <a:pt x="7200" y="9327"/>
                    </a:cubicBezTo>
                    <a:cubicBezTo>
                      <a:pt x="7200" y="9056"/>
                      <a:pt x="6932" y="8836"/>
                      <a:pt x="6600" y="8836"/>
                    </a:cubicBezTo>
                    <a:lnTo>
                      <a:pt x="4200" y="8836"/>
                    </a:lnTo>
                    <a:cubicBezTo>
                      <a:pt x="3868" y="8836"/>
                      <a:pt x="3600" y="9056"/>
                      <a:pt x="3600" y="9327"/>
                    </a:cubicBezTo>
                    <a:cubicBezTo>
                      <a:pt x="3600" y="9599"/>
                      <a:pt x="3868" y="9818"/>
                      <a:pt x="4200" y="9818"/>
                    </a:cubicBezTo>
                    <a:moveTo>
                      <a:pt x="9000" y="17673"/>
                    </a:moveTo>
                    <a:lnTo>
                      <a:pt x="4200" y="17673"/>
                    </a:lnTo>
                    <a:cubicBezTo>
                      <a:pt x="3868" y="17673"/>
                      <a:pt x="3600" y="17893"/>
                      <a:pt x="3600" y="18164"/>
                    </a:cubicBezTo>
                    <a:cubicBezTo>
                      <a:pt x="3600" y="18435"/>
                      <a:pt x="3868" y="18655"/>
                      <a:pt x="4200" y="18655"/>
                    </a:cubicBezTo>
                    <a:lnTo>
                      <a:pt x="9000" y="18655"/>
                    </a:lnTo>
                    <a:cubicBezTo>
                      <a:pt x="9332" y="18655"/>
                      <a:pt x="9600" y="18435"/>
                      <a:pt x="9600" y="18164"/>
                    </a:cubicBezTo>
                    <a:cubicBezTo>
                      <a:pt x="9600" y="17893"/>
                      <a:pt x="9332" y="17673"/>
                      <a:pt x="9000" y="17673"/>
                    </a:cubicBezTo>
                    <a:moveTo>
                      <a:pt x="11400" y="14727"/>
                    </a:moveTo>
                    <a:lnTo>
                      <a:pt x="4200" y="14727"/>
                    </a:lnTo>
                    <a:cubicBezTo>
                      <a:pt x="3868" y="14727"/>
                      <a:pt x="3600" y="14947"/>
                      <a:pt x="3600" y="15218"/>
                    </a:cubicBezTo>
                    <a:cubicBezTo>
                      <a:pt x="3600" y="15490"/>
                      <a:pt x="3868" y="15709"/>
                      <a:pt x="4200" y="15709"/>
                    </a:cubicBezTo>
                    <a:lnTo>
                      <a:pt x="11400" y="15709"/>
                    </a:lnTo>
                    <a:cubicBezTo>
                      <a:pt x="11732" y="15709"/>
                      <a:pt x="12000" y="15490"/>
                      <a:pt x="12000" y="15218"/>
                    </a:cubicBezTo>
                    <a:cubicBezTo>
                      <a:pt x="12000" y="14947"/>
                      <a:pt x="11732" y="14727"/>
                      <a:pt x="11400" y="14727"/>
                    </a:cubicBezTo>
                  </a:path>
                </a:pathLst>
              </a:custGeom>
              <a:solidFill>
                <a:schemeClr val="bg1">
                  <a:lumMod val="50000"/>
                </a:schemeClr>
              </a:solidFill>
              <a:ln>
                <a:noFill/>
              </a:ln>
            </p:spPr>
            <p:txBody>
              <a:bodyPr vert="horz" wrap="square" lIns="74295" tIns="37148" rIns="74295" bIns="3714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06" name="Овал 105">
                <a:extLst>
                  <a:ext uri="{FF2B5EF4-FFF2-40B4-BE49-F238E27FC236}">
                    <a16:creationId xmlns:a16="http://schemas.microsoft.com/office/drawing/2014/main" xmlns="" id="{BFDAB718-2CAD-4D11-AB86-691D471E62F3}"/>
                  </a:ext>
                </a:extLst>
              </p:cNvPr>
              <p:cNvSpPr/>
              <p:nvPr/>
            </p:nvSpPr>
            <p:spPr>
              <a:xfrm>
                <a:off x="2892805" y="3663323"/>
                <a:ext cx="188415" cy="20103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4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07" name="Shape 3890">
                <a:extLst>
                  <a:ext uri="{FF2B5EF4-FFF2-40B4-BE49-F238E27FC236}">
                    <a16:creationId xmlns:a16="http://schemas.microsoft.com/office/drawing/2014/main" xmlns="" id="{6D952FD4-5468-414C-B0A9-6D6655E84E03}"/>
                  </a:ext>
                </a:extLst>
              </p:cNvPr>
              <p:cNvSpPr/>
              <p:nvPr/>
            </p:nvSpPr>
            <p:spPr>
              <a:xfrm>
                <a:off x="2925329" y="3667723"/>
                <a:ext cx="143087" cy="19223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2375" y="14735"/>
                    </a:moveTo>
                    <a:cubicBezTo>
                      <a:pt x="12008" y="15178"/>
                      <a:pt x="11621" y="15531"/>
                      <a:pt x="11226" y="15783"/>
                    </a:cubicBezTo>
                    <a:cubicBezTo>
                      <a:pt x="10834" y="16036"/>
                      <a:pt x="10421" y="16209"/>
                      <a:pt x="10002" y="16302"/>
                    </a:cubicBezTo>
                    <a:cubicBezTo>
                      <a:pt x="9027" y="16518"/>
                      <a:pt x="8105" y="16493"/>
                      <a:pt x="7342" y="16179"/>
                    </a:cubicBezTo>
                    <a:cubicBezTo>
                      <a:pt x="6912" y="16003"/>
                      <a:pt x="6537" y="15756"/>
                      <a:pt x="6227" y="15442"/>
                    </a:cubicBezTo>
                    <a:cubicBezTo>
                      <a:pt x="5915" y="15129"/>
                      <a:pt x="5669" y="14758"/>
                      <a:pt x="5493" y="14341"/>
                    </a:cubicBezTo>
                    <a:cubicBezTo>
                      <a:pt x="5317" y="13924"/>
                      <a:pt x="5228" y="13459"/>
                      <a:pt x="5228" y="12958"/>
                    </a:cubicBezTo>
                    <a:cubicBezTo>
                      <a:pt x="5228" y="12161"/>
                      <a:pt x="5386" y="11302"/>
                      <a:pt x="5698" y="10406"/>
                    </a:cubicBezTo>
                    <a:cubicBezTo>
                      <a:pt x="6010" y="9509"/>
                      <a:pt x="6454" y="8665"/>
                      <a:pt x="7018" y="7900"/>
                    </a:cubicBezTo>
                    <a:cubicBezTo>
                      <a:pt x="7579" y="7140"/>
                      <a:pt x="8265" y="6498"/>
                      <a:pt x="9058" y="5994"/>
                    </a:cubicBezTo>
                    <a:cubicBezTo>
                      <a:pt x="9839" y="5496"/>
                      <a:pt x="10706" y="5245"/>
                      <a:pt x="11636" y="5245"/>
                    </a:cubicBezTo>
                    <a:cubicBezTo>
                      <a:pt x="12014" y="5245"/>
                      <a:pt x="12413" y="5288"/>
                      <a:pt x="12821" y="5373"/>
                    </a:cubicBezTo>
                    <a:cubicBezTo>
                      <a:pt x="13224" y="5457"/>
                      <a:pt x="13613" y="5599"/>
                      <a:pt x="13978" y="5795"/>
                    </a:cubicBezTo>
                    <a:cubicBezTo>
                      <a:pt x="14337" y="5989"/>
                      <a:pt x="14658" y="6246"/>
                      <a:pt x="14931" y="6561"/>
                    </a:cubicBezTo>
                    <a:cubicBezTo>
                      <a:pt x="15189" y="6859"/>
                      <a:pt x="15389" y="7238"/>
                      <a:pt x="15526" y="7693"/>
                    </a:cubicBezTo>
                    <a:lnTo>
                      <a:pt x="13353" y="13035"/>
                    </a:lnTo>
                    <a:cubicBezTo>
                      <a:pt x="13072" y="13720"/>
                      <a:pt x="12743" y="14292"/>
                      <a:pt x="12375" y="14735"/>
                    </a:cubicBezTo>
                    <a:moveTo>
                      <a:pt x="20215" y="16108"/>
                    </a:moveTo>
                    <a:cubicBezTo>
                      <a:pt x="19749" y="16741"/>
                      <a:pt x="19196" y="17344"/>
                      <a:pt x="18569" y="17900"/>
                    </a:cubicBezTo>
                    <a:cubicBezTo>
                      <a:pt x="17943" y="18456"/>
                      <a:pt x="17242" y="18946"/>
                      <a:pt x="16484" y="19359"/>
                    </a:cubicBezTo>
                    <a:cubicBezTo>
                      <a:pt x="15729" y="19771"/>
                      <a:pt x="14914" y="20096"/>
                      <a:pt x="14064" y="20327"/>
                    </a:cubicBezTo>
                    <a:cubicBezTo>
                      <a:pt x="13217" y="20556"/>
                      <a:pt x="12316" y="20673"/>
                      <a:pt x="11388" y="20673"/>
                    </a:cubicBezTo>
                    <a:cubicBezTo>
                      <a:pt x="9991" y="20673"/>
                      <a:pt x="8647" y="20458"/>
                      <a:pt x="7393" y="20036"/>
                    </a:cubicBezTo>
                    <a:cubicBezTo>
                      <a:pt x="6143" y="19615"/>
                      <a:pt x="5029" y="18981"/>
                      <a:pt x="4083" y="18149"/>
                    </a:cubicBezTo>
                    <a:cubicBezTo>
                      <a:pt x="3138" y="17320"/>
                      <a:pt x="2378" y="16274"/>
                      <a:pt x="1823" y="15041"/>
                    </a:cubicBezTo>
                    <a:cubicBezTo>
                      <a:pt x="1269" y="13809"/>
                      <a:pt x="989" y="12358"/>
                      <a:pt x="989" y="10727"/>
                    </a:cubicBezTo>
                    <a:cubicBezTo>
                      <a:pt x="989" y="9370"/>
                      <a:pt x="1254" y="8086"/>
                      <a:pt x="1777" y="6911"/>
                    </a:cubicBezTo>
                    <a:cubicBezTo>
                      <a:pt x="2301" y="5736"/>
                      <a:pt x="3037" y="4693"/>
                      <a:pt x="3964" y="3814"/>
                    </a:cubicBezTo>
                    <a:cubicBezTo>
                      <a:pt x="4892" y="2934"/>
                      <a:pt x="6002" y="2230"/>
                      <a:pt x="7264" y="1723"/>
                    </a:cubicBezTo>
                    <a:cubicBezTo>
                      <a:pt x="8526" y="1215"/>
                      <a:pt x="9914" y="958"/>
                      <a:pt x="11388" y="958"/>
                    </a:cubicBezTo>
                    <a:cubicBezTo>
                      <a:pt x="12700" y="958"/>
                      <a:pt x="13940" y="1156"/>
                      <a:pt x="15072" y="1549"/>
                    </a:cubicBezTo>
                    <a:cubicBezTo>
                      <a:pt x="16200" y="1942"/>
                      <a:pt x="17185" y="2497"/>
                      <a:pt x="17998" y="3203"/>
                    </a:cubicBezTo>
                    <a:cubicBezTo>
                      <a:pt x="18809" y="3906"/>
                      <a:pt x="19455" y="4765"/>
                      <a:pt x="19917" y="5754"/>
                    </a:cubicBezTo>
                    <a:cubicBezTo>
                      <a:pt x="20377" y="6743"/>
                      <a:pt x="20611" y="7843"/>
                      <a:pt x="20611" y="9023"/>
                    </a:cubicBezTo>
                    <a:cubicBezTo>
                      <a:pt x="20611" y="10070"/>
                      <a:pt x="20418" y="11059"/>
                      <a:pt x="20038" y="11962"/>
                    </a:cubicBezTo>
                    <a:cubicBezTo>
                      <a:pt x="19656" y="12869"/>
                      <a:pt x="19171" y="13663"/>
                      <a:pt x="18598" y="14320"/>
                    </a:cubicBezTo>
                    <a:cubicBezTo>
                      <a:pt x="18028" y="14976"/>
                      <a:pt x="17393" y="15502"/>
                      <a:pt x="16714" y="15880"/>
                    </a:cubicBezTo>
                    <a:cubicBezTo>
                      <a:pt x="16044" y="16255"/>
                      <a:pt x="15398" y="16444"/>
                      <a:pt x="14792" y="16444"/>
                    </a:cubicBezTo>
                    <a:cubicBezTo>
                      <a:pt x="14424" y="16444"/>
                      <a:pt x="14151" y="16374"/>
                      <a:pt x="13980" y="16235"/>
                    </a:cubicBezTo>
                    <a:cubicBezTo>
                      <a:pt x="13810" y="16098"/>
                      <a:pt x="13710" y="15916"/>
                      <a:pt x="13675" y="15677"/>
                    </a:cubicBezTo>
                    <a:cubicBezTo>
                      <a:pt x="13638" y="15420"/>
                      <a:pt x="13667" y="15109"/>
                      <a:pt x="13764" y="14754"/>
                    </a:cubicBezTo>
                    <a:cubicBezTo>
                      <a:pt x="13864" y="14385"/>
                      <a:pt x="14007" y="13983"/>
                      <a:pt x="14190" y="13556"/>
                    </a:cubicBezTo>
                    <a:lnTo>
                      <a:pt x="17729" y="4845"/>
                    </a:lnTo>
                    <a:lnTo>
                      <a:pt x="16677" y="4845"/>
                    </a:lnTo>
                    <a:lnTo>
                      <a:pt x="16026" y="6544"/>
                    </a:lnTo>
                    <a:cubicBezTo>
                      <a:pt x="15715" y="5890"/>
                      <a:pt x="15207" y="5363"/>
                      <a:pt x="14512" y="4972"/>
                    </a:cubicBezTo>
                    <a:cubicBezTo>
                      <a:pt x="13703" y="4517"/>
                      <a:pt x="12777" y="4287"/>
                      <a:pt x="11759" y="4287"/>
                    </a:cubicBezTo>
                    <a:cubicBezTo>
                      <a:pt x="10637" y="4287"/>
                      <a:pt x="9596" y="4568"/>
                      <a:pt x="8663" y="5121"/>
                    </a:cubicBezTo>
                    <a:cubicBezTo>
                      <a:pt x="7739" y="5669"/>
                      <a:pt x="6940" y="6381"/>
                      <a:pt x="6289" y="7238"/>
                    </a:cubicBezTo>
                    <a:cubicBezTo>
                      <a:pt x="5641" y="8092"/>
                      <a:pt x="5132" y="9032"/>
                      <a:pt x="4777" y="10034"/>
                    </a:cubicBezTo>
                    <a:cubicBezTo>
                      <a:pt x="4420" y="11038"/>
                      <a:pt x="4240" y="12021"/>
                      <a:pt x="4240" y="12958"/>
                    </a:cubicBezTo>
                    <a:cubicBezTo>
                      <a:pt x="4240" y="13568"/>
                      <a:pt x="4354" y="14151"/>
                      <a:pt x="4579" y="14690"/>
                    </a:cubicBezTo>
                    <a:cubicBezTo>
                      <a:pt x="4804" y="15227"/>
                      <a:pt x="5113" y="15701"/>
                      <a:pt x="5499" y="16097"/>
                    </a:cubicBezTo>
                    <a:cubicBezTo>
                      <a:pt x="5887" y="16496"/>
                      <a:pt x="6354" y="16816"/>
                      <a:pt x="6889" y="17048"/>
                    </a:cubicBezTo>
                    <a:cubicBezTo>
                      <a:pt x="8063" y="17561"/>
                      <a:pt x="9489" y="17484"/>
                      <a:pt x="10904" y="17025"/>
                    </a:cubicBezTo>
                    <a:cubicBezTo>
                      <a:pt x="11562" y="16811"/>
                      <a:pt x="12160" y="16412"/>
                      <a:pt x="12689" y="15835"/>
                    </a:cubicBezTo>
                    <a:cubicBezTo>
                      <a:pt x="12715" y="16226"/>
                      <a:pt x="12874" y="16561"/>
                      <a:pt x="13164" y="16837"/>
                    </a:cubicBezTo>
                    <a:cubicBezTo>
                      <a:pt x="13559" y="17211"/>
                      <a:pt x="14086" y="17402"/>
                      <a:pt x="14731" y="17402"/>
                    </a:cubicBezTo>
                    <a:cubicBezTo>
                      <a:pt x="15501" y="17402"/>
                      <a:pt x="16307" y="17176"/>
                      <a:pt x="17124" y="16734"/>
                    </a:cubicBezTo>
                    <a:cubicBezTo>
                      <a:pt x="17934" y="16294"/>
                      <a:pt x="18680" y="15688"/>
                      <a:pt x="19342" y="14930"/>
                    </a:cubicBezTo>
                    <a:cubicBezTo>
                      <a:pt x="20001" y="14176"/>
                      <a:pt x="20548" y="13284"/>
                      <a:pt x="20967" y="12281"/>
                    </a:cubicBezTo>
                    <a:cubicBezTo>
                      <a:pt x="21387" y="11275"/>
                      <a:pt x="21600" y="10179"/>
                      <a:pt x="21600" y="9023"/>
                    </a:cubicBezTo>
                    <a:cubicBezTo>
                      <a:pt x="21600" y="7651"/>
                      <a:pt x="21328" y="6389"/>
                      <a:pt x="20793" y="5274"/>
                    </a:cubicBezTo>
                    <a:cubicBezTo>
                      <a:pt x="20258" y="4159"/>
                      <a:pt x="19518" y="3199"/>
                      <a:pt x="18594" y="2423"/>
                    </a:cubicBezTo>
                    <a:cubicBezTo>
                      <a:pt x="17672" y="1647"/>
                      <a:pt x="16579" y="1043"/>
                      <a:pt x="15346" y="627"/>
                    </a:cubicBezTo>
                    <a:cubicBezTo>
                      <a:pt x="14116" y="211"/>
                      <a:pt x="12784" y="0"/>
                      <a:pt x="11388" y="0"/>
                    </a:cubicBezTo>
                    <a:cubicBezTo>
                      <a:pt x="9845" y="0"/>
                      <a:pt x="8365" y="271"/>
                      <a:pt x="6989" y="805"/>
                    </a:cubicBezTo>
                    <a:cubicBezTo>
                      <a:pt x="5612" y="1340"/>
                      <a:pt x="4389" y="2093"/>
                      <a:pt x="3356" y="3045"/>
                    </a:cubicBezTo>
                    <a:cubicBezTo>
                      <a:pt x="2321" y="3996"/>
                      <a:pt x="1495" y="5138"/>
                      <a:pt x="899" y="6436"/>
                    </a:cubicBezTo>
                    <a:cubicBezTo>
                      <a:pt x="302" y="7737"/>
                      <a:pt x="0" y="9181"/>
                      <a:pt x="0" y="10727"/>
                    </a:cubicBezTo>
                    <a:cubicBezTo>
                      <a:pt x="0" y="12605"/>
                      <a:pt x="334" y="14252"/>
                      <a:pt x="993" y="15622"/>
                    </a:cubicBezTo>
                    <a:cubicBezTo>
                      <a:pt x="1652" y="16992"/>
                      <a:pt x="2528" y="18134"/>
                      <a:pt x="3595" y="19018"/>
                    </a:cubicBezTo>
                    <a:cubicBezTo>
                      <a:pt x="4661" y="19900"/>
                      <a:pt x="5890" y="20559"/>
                      <a:pt x="7249" y="20975"/>
                    </a:cubicBezTo>
                    <a:cubicBezTo>
                      <a:pt x="8601" y="21390"/>
                      <a:pt x="9994" y="21600"/>
                      <a:pt x="11388" y="21600"/>
                    </a:cubicBezTo>
                    <a:cubicBezTo>
                      <a:pt x="12348" y="21600"/>
                      <a:pt x="13317" y="21474"/>
                      <a:pt x="14267" y="21228"/>
                    </a:cubicBezTo>
                    <a:cubicBezTo>
                      <a:pt x="15214" y="20981"/>
                      <a:pt x="16128" y="20624"/>
                      <a:pt x="16983" y="20169"/>
                    </a:cubicBezTo>
                    <a:cubicBezTo>
                      <a:pt x="17839" y="19713"/>
                      <a:pt x="18642" y="19152"/>
                      <a:pt x="19372" y="18499"/>
                    </a:cubicBezTo>
                    <a:cubicBezTo>
                      <a:pt x="20104" y="17845"/>
                      <a:pt x="20729" y="17110"/>
                      <a:pt x="21232" y="16316"/>
                    </a:cubicBezTo>
                    <a:lnTo>
                      <a:pt x="21411" y="16033"/>
                    </a:lnTo>
                    <a:lnTo>
                      <a:pt x="20270" y="16033"/>
                    </a:lnTo>
                    <a:cubicBezTo>
                      <a:pt x="20270" y="16033"/>
                      <a:pt x="20215" y="16108"/>
                      <a:pt x="20215" y="16108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solidFill>
                  <a:schemeClr val="accent4">
                    <a:lumMod val="60000"/>
                    <a:lumOff val="40000"/>
                  </a:schemeClr>
                </a:solidFill>
              </a:ln>
            </p:spPr>
            <p:txBody>
              <a:bodyPr vert="horz" wrap="square" lIns="74295" tIns="37148" rIns="74295" bIns="3714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89" name="Group 19"/>
            <p:cNvGrpSpPr/>
            <p:nvPr/>
          </p:nvGrpSpPr>
          <p:grpSpPr>
            <a:xfrm>
              <a:off x="4028777" y="4234583"/>
              <a:ext cx="440802" cy="412426"/>
              <a:chOff x="7542208" y="4430721"/>
              <a:chExt cx="527052" cy="717551"/>
            </a:xfrm>
            <a:solidFill>
              <a:schemeClr val="accent4">
                <a:lumMod val="60000"/>
                <a:lumOff val="40000"/>
              </a:schemeClr>
            </a:solidFill>
          </p:grpSpPr>
          <p:sp>
            <p:nvSpPr>
              <p:cNvPr id="96" name="Freeform 75"/>
              <p:cNvSpPr>
                <a:spLocks noEditPoints="1"/>
              </p:cNvSpPr>
              <p:nvPr/>
            </p:nvSpPr>
            <p:spPr bwMode="auto">
              <a:xfrm>
                <a:off x="7542208" y="4430721"/>
                <a:ext cx="527052" cy="717551"/>
              </a:xfrm>
              <a:custGeom>
                <a:avLst/>
                <a:gdLst/>
                <a:ahLst/>
                <a:cxnLst>
                  <a:cxn ang="0">
                    <a:pos x="255" y="0"/>
                  </a:cxn>
                  <a:cxn ang="0">
                    <a:pos x="79" y="0"/>
                  </a:cxn>
                  <a:cxn ang="0">
                    <a:pos x="0" y="85"/>
                  </a:cxn>
                  <a:cxn ang="0">
                    <a:pos x="0" y="353"/>
                  </a:cxn>
                  <a:cxn ang="0">
                    <a:pos x="17" y="371"/>
                  </a:cxn>
                  <a:cxn ang="0">
                    <a:pos x="255" y="371"/>
                  </a:cxn>
                  <a:cxn ang="0">
                    <a:pos x="273" y="353"/>
                  </a:cxn>
                  <a:cxn ang="0">
                    <a:pos x="273" y="17"/>
                  </a:cxn>
                  <a:cxn ang="0">
                    <a:pos x="255" y="0"/>
                  </a:cxn>
                  <a:cxn ang="0">
                    <a:pos x="259" y="353"/>
                  </a:cxn>
                  <a:cxn ang="0">
                    <a:pos x="258" y="356"/>
                  </a:cxn>
                  <a:cxn ang="0">
                    <a:pos x="255" y="357"/>
                  </a:cxn>
                  <a:cxn ang="0">
                    <a:pos x="17" y="357"/>
                  </a:cxn>
                  <a:cxn ang="0">
                    <a:pos x="14" y="356"/>
                  </a:cxn>
                  <a:cxn ang="0">
                    <a:pos x="13" y="353"/>
                  </a:cxn>
                  <a:cxn ang="0">
                    <a:pos x="13" y="91"/>
                  </a:cxn>
                  <a:cxn ang="0">
                    <a:pos x="85" y="91"/>
                  </a:cxn>
                  <a:cxn ang="0">
                    <a:pos x="88" y="14"/>
                  </a:cxn>
                  <a:cxn ang="0">
                    <a:pos x="255" y="14"/>
                  </a:cxn>
                  <a:cxn ang="0">
                    <a:pos x="258" y="15"/>
                  </a:cxn>
                  <a:cxn ang="0">
                    <a:pos x="259" y="17"/>
                  </a:cxn>
                  <a:cxn ang="0">
                    <a:pos x="259" y="353"/>
                  </a:cxn>
                </a:cxnLst>
                <a:rect l="0" t="0" r="r" b="b"/>
                <a:pathLst>
                  <a:path w="273" h="371">
                    <a:moveTo>
                      <a:pt x="255" y="0"/>
                    </a:moveTo>
                    <a:cubicBezTo>
                      <a:pt x="79" y="0"/>
                      <a:pt x="79" y="0"/>
                      <a:pt x="79" y="0"/>
                    </a:cubicBezTo>
                    <a:cubicBezTo>
                      <a:pt x="0" y="85"/>
                      <a:pt x="0" y="85"/>
                      <a:pt x="0" y="85"/>
                    </a:cubicBezTo>
                    <a:cubicBezTo>
                      <a:pt x="0" y="353"/>
                      <a:pt x="0" y="353"/>
                      <a:pt x="0" y="353"/>
                    </a:cubicBezTo>
                    <a:cubicBezTo>
                      <a:pt x="0" y="363"/>
                      <a:pt x="7" y="371"/>
                      <a:pt x="17" y="371"/>
                    </a:cubicBezTo>
                    <a:cubicBezTo>
                      <a:pt x="255" y="371"/>
                      <a:pt x="255" y="371"/>
                      <a:pt x="255" y="371"/>
                    </a:cubicBezTo>
                    <a:cubicBezTo>
                      <a:pt x="265" y="371"/>
                      <a:pt x="273" y="363"/>
                      <a:pt x="273" y="353"/>
                    </a:cubicBezTo>
                    <a:cubicBezTo>
                      <a:pt x="273" y="17"/>
                      <a:pt x="273" y="17"/>
                      <a:pt x="273" y="17"/>
                    </a:cubicBezTo>
                    <a:cubicBezTo>
                      <a:pt x="273" y="8"/>
                      <a:pt x="265" y="0"/>
                      <a:pt x="255" y="0"/>
                    </a:cubicBezTo>
                    <a:close/>
                    <a:moveTo>
                      <a:pt x="259" y="353"/>
                    </a:moveTo>
                    <a:cubicBezTo>
                      <a:pt x="259" y="354"/>
                      <a:pt x="259" y="355"/>
                      <a:pt x="258" y="356"/>
                    </a:cubicBezTo>
                    <a:cubicBezTo>
                      <a:pt x="257" y="357"/>
                      <a:pt x="256" y="357"/>
                      <a:pt x="255" y="357"/>
                    </a:cubicBezTo>
                    <a:cubicBezTo>
                      <a:pt x="17" y="357"/>
                      <a:pt x="17" y="357"/>
                      <a:pt x="17" y="357"/>
                    </a:cubicBezTo>
                    <a:cubicBezTo>
                      <a:pt x="16" y="357"/>
                      <a:pt x="15" y="357"/>
                      <a:pt x="14" y="356"/>
                    </a:cubicBezTo>
                    <a:cubicBezTo>
                      <a:pt x="14" y="355"/>
                      <a:pt x="13" y="354"/>
                      <a:pt x="13" y="353"/>
                    </a:cubicBezTo>
                    <a:cubicBezTo>
                      <a:pt x="13" y="91"/>
                      <a:pt x="13" y="91"/>
                      <a:pt x="13" y="91"/>
                    </a:cubicBezTo>
                    <a:cubicBezTo>
                      <a:pt x="85" y="91"/>
                      <a:pt x="85" y="91"/>
                      <a:pt x="85" y="91"/>
                    </a:cubicBezTo>
                    <a:cubicBezTo>
                      <a:pt x="88" y="14"/>
                      <a:pt x="88" y="14"/>
                      <a:pt x="88" y="14"/>
                    </a:cubicBezTo>
                    <a:cubicBezTo>
                      <a:pt x="255" y="14"/>
                      <a:pt x="255" y="14"/>
                      <a:pt x="255" y="14"/>
                    </a:cubicBezTo>
                    <a:cubicBezTo>
                      <a:pt x="256" y="14"/>
                      <a:pt x="257" y="14"/>
                      <a:pt x="258" y="15"/>
                    </a:cubicBezTo>
                    <a:cubicBezTo>
                      <a:pt x="259" y="15"/>
                      <a:pt x="259" y="16"/>
                      <a:pt x="259" y="17"/>
                    </a:cubicBezTo>
                    <a:lnTo>
                      <a:pt x="259" y="353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97" name="Freeform 76"/>
              <p:cNvSpPr>
                <a:spLocks/>
              </p:cNvSpPr>
              <p:nvPr/>
            </p:nvSpPr>
            <p:spPr bwMode="auto">
              <a:xfrm>
                <a:off x="7632696" y="4937135"/>
                <a:ext cx="354014" cy="28575"/>
              </a:xfrm>
              <a:custGeom>
                <a:avLst/>
                <a:gdLst/>
                <a:ahLst/>
                <a:cxnLst>
                  <a:cxn ang="0">
                    <a:pos x="176" y="0"/>
                  </a:cxn>
                  <a:cxn ang="0">
                    <a:pos x="7" y="0"/>
                  </a:cxn>
                  <a:cxn ang="0">
                    <a:pos x="0" y="7"/>
                  </a:cxn>
                  <a:cxn ang="0">
                    <a:pos x="7" y="15"/>
                  </a:cxn>
                  <a:cxn ang="0">
                    <a:pos x="176" y="15"/>
                  </a:cxn>
                  <a:cxn ang="0">
                    <a:pos x="183" y="7"/>
                  </a:cxn>
                  <a:cxn ang="0">
                    <a:pos x="176" y="0"/>
                  </a:cxn>
                </a:cxnLst>
                <a:rect l="0" t="0" r="r" b="b"/>
                <a:pathLst>
                  <a:path w="183" h="15">
                    <a:moveTo>
                      <a:pt x="176" y="0"/>
                    </a:moveTo>
                    <a:cubicBezTo>
                      <a:pt x="7" y="0"/>
                      <a:pt x="7" y="0"/>
                      <a:pt x="7" y="0"/>
                    </a:cubicBezTo>
                    <a:cubicBezTo>
                      <a:pt x="3" y="0"/>
                      <a:pt x="0" y="3"/>
                      <a:pt x="0" y="7"/>
                    </a:cubicBezTo>
                    <a:cubicBezTo>
                      <a:pt x="0" y="12"/>
                      <a:pt x="3" y="15"/>
                      <a:pt x="7" y="15"/>
                    </a:cubicBezTo>
                    <a:cubicBezTo>
                      <a:pt x="176" y="15"/>
                      <a:pt x="176" y="15"/>
                      <a:pt x="176" y="15"/>
                    </a:cubicBezTo>
                    <a:cubicBezTo>
                      <a:pt x="180" y="15"/>
                      <a:pt x="183" y="12"/>
                      <a:pt x="183" y="7"/>
                    </a:cubicBezTo>
                    <a:cubicBezTo>
                      <a:pt x="183" y="3"/>
                      <a:pt x="180" y="0"/>
                      <a:pt x="176" y="0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98" name="Freeform 77"/>
              <p:cNvSpPr>
                <a:spLocks/>
              </p:cNvSpPr>
              <p:nvPr/>
            </p:nvSpPr>
            <p:spPr bwMode="auto">
              <a:xfrm>
                <a:off x="7632696" y="5035560"/>
                <a:ext cx="180976" cy="28575"/>
              </a:xfrm>
              <a:custGeom>
                <a:avLst/>
                <a:gdLst/>
                <a:ahLst/>
                <a:cxnLst>
                  <a:cxn ang="0">
                    <a:pos x="86" y="0"/>
                  </a:cxn>
                  <a:cxn ang="0">
                    <a:pos x="7" y="0"/>
                  </a:cxn>
                  <a:cxn ang="0">
                    <a:pos x="0" y="7"/>
                  </a:cxn>
                  <a:cxn ang="0">
                    <a:pos x="7" y="15"/>
                  </a:cxn>
                  <a:cxn ang="0">
                    <a:pos x="86" y="15"/>
                  </a:cxn>
                  <a:cxn ang="0">
                    <a:pos x="94" y="7"/>
                  </a:cxn>
                  <a:cxn ang="0">
                    <a:pos x="86" y="0"/>
                  </a:cxn>
                </a:cxnLst>
                <a:rect l="0" t="0" r="r" b="b"/>
                <a:pathLst>
                  <a:path w="94" h="15">
                    <a:moveTo>
                      <a:pt x="86" y="0"/>
                    </a:moveTo>
                    <a:cubicBezTo>
                      <a:pt x="60" y="0"/>
                      <a:pt x="34" y="0"/>
                      <a:pt x="7" y="0"/>
                    </a:cubicBezTo>
                    <a:cubicBezTo>
                      <a:pt x="3" y="0"/>
                      <a:pt x="0" y="3"/>
                      <a:pt x="0" y="7"/>
                    </a:cubicBezTo>
                    <a:cubicBezTo>
                      <a:pt x="0" y="12"/>
                      <a:pt x="3" y="15"/>
                      <a:pt x="7" y="15"/>
                    </a:cubicBezTo>
                    <a:cubicBezTo>
                      <a:pt x="34" y="15"/>
                      <a:pt x="60" y="15"/>
                      <a:pt x="86" y="15"/>
                    </a:cubicBezTo>
                    <a:cubicBezTo>
                      <a:pt x="91" y="15"/>
                      <a:pt x="94" y="12"/>
                      <a:pt x="94" y="7"/>
                    </a:cubicBezTo>
                    <a:cubicBezTo>
                      <a:pt x="94" y="3"/>
                      <a:pt x="91" y="0"/>
                      <a:pt x="86" y="0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99" name="Freeform 78"/>
              <p:cNvSpPr>
                <a:spLocks/>
              </p:cNvSpPr>
              <p:nvPr/>
            </p:nvSpPr>
            <p:spPr bwMode="auto">
              <a:xfrm>
                <a:off x="7632696" y="4868872"/>
                <a:ext cx="354014" cy="31750"/>
              </a:xfrm>
              <a:custGeom>
                <a:avLst/>
                <a:gdLst/>
                <a:ahLst/>
                <a:cxnLst>
                  <a:cxn ang="0">
                    <a:pos x="176" y="0"/>
                  </a:cxn>
                  <a:cxn ang="0">
                    <a:pos x="7" y="0"/>
                  </a:cxn>
                  <a:cxn ang="0">
                    <a:pos x="0" y="8"/>
                  </a:cxn>
                  <a:cxn ang="0">
                    <a:pos x="7" y="16"/>
                  </a:cxn>
                  <a:cxn ang="0">
                    <a:pos x="176" y="16"/>
                  </a:cxn>
                  <a:cxn ang="0">
                    <a:pos x="183" y="8"/>
                  </a:cxn>
                  <a:cxn ang="0">
                    <a:pos x="176" y="0"/>
                  </a:cxn>
                </a:cxnLst>
                <a:rect l="0" t="0" r="r" b="b"/>
                <a:pathLst>
                  <a:path w="183" h="16">
                    <a:moveTo>
                      <a:pt x="176" y="0"/>
                    </a:moveTo>
                    <a:cubicBezTo>
                      <a:pt x="7" y="0"/>
                      <a:pt x="7" y="0"/>
                      <a:pt x="7" y="0"/>
                    </a:cubicBezTo>
                    <a:cubicBezTo>
                      <a:pt x="3" y="0"/>
                      <a:pt x="0" y="4"/>
                      <a:pt x="0" y="8"/>
                    </a:cubicBezTo>
                    <a:cubicBezTo>
                      <a:pt x="0" y="12"/>
                      <a:pt x="3" y="16"/>
                      <a:pt x="7" y="16"/>
                    </a:cubicBezTo>
                    <a:cubicBezTo>
                      <a:pt x="176" y="16"/>
                      <a:pt x="176" y="16"/>
                      <a:pt x="176" y="16"/>
                    </a:cubicBezTo>
                    <a:cubicBezTo>
                      <a:pt x="180" y="16"/>
                      <a:pt x="183" y="12"/>
                      <a:pt x="183" y="8"/>
                    </a:cubicBezTo>
                    <a:cubicBezTo>
                      <a:pt x="183" y="4"/>
                      <a:pt x="180" y="0"/>
                      <a:pt x="176" y="0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00" name="Freeform 79"/>
              <p:cNvSpPr>
                <a:spLocks/>
              </p:cNvSpPr>
              <p:nvPr/>
            </p:nvSpPr>
            <p:spPr bwMode="auto">
              <a:xfrm>
                <a:off x="7632696" y="4803784"/>
                <a:ext cx="354014" cy="28575"/>
              </a:xfrm>
              <a:custGeom>
                <a:avLst/>
                <a:gdLst/>
                <a:ahLst/>
                <a:cxnLst>
                  <a:cxn ang="0">
                    <a:pos x="176" y="0"/>
                  </a:cxn>
                  <a:cxn ang="0">
                    <a:pos x="7" y="0"/>
                  </a:cxn>
                  <a:cxn ang="0">
                    <a:pos x="0" y="7"/>
                  </a:cxn>
                  <a:cxn ang="0">
                    <a:pos x="7" y="15"/>
                  </a:cxn>
                  <a:cxn ang="0">
                    <a:pos x="176" y="15"/>
                  </a:cxn>
                  <a:cxn ang="0">
                    <a:pos x="183" y="7"/>
                  </a:cxn>
                  <a:cxn ang="0">
                    <a:pos x="176" y="0"/>
                  </a:cxn>
                </a:cxnLst>
                <a:rect l="0" t="0" r="r" b="b"/>
                <a:pathLst>
                  <a:path w="183" h="15">
                    <a:moveTo>
                      <a:pt x="176" y="0"/>
                    </a:moveTo>
                    <a:cubicBezTo>
                      <a:pt x="7" y="0"/>
                      <a:pt x="7" y="0"/>
                      <a:pt x="7" y="0"/>
                    </a:cubicBezTo>
                    <a:cubicBezTo>
                      <a:pt x="3" y="0"/>
                      <a:pt x="0" y="3"/>
                      <a:pt x="0" y="7"/>
                    </a:cubicBezTo>
                    <a:cubicBezTo>
                      <a:pt x="0" y="12"/>
                      <a:pt x="3" y="15"/>
                      <a:pt x="7" y="15"/>
                    </a:cubicBezTo>
                    <a:cubicBezTo>
                      <a:pt x="176" y="15"/>
                      <a:pt x="176" y="15"/>
                      <a:pt x="176" y="15"/>
                    </a:cubicBezTo>
                    <a:cubicBezTo>
                      <a:pt x="180" y="15"/>
                      <a:pt x="183" y="12"/>
                      <a:pt x="183" y="7"/>
                    </a:cubicBezTo>
                    <a:cubicBezTo>
                      <a:pt x="183" y="3"/>
                      <a:pt x="180" y="0"/>
                      <a:pt x="176" y="0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01" name="Freeform 80"/>
              <p:cNvSpPr>
                <a:spLocks/>
              </p:cNvSpPr>
              <p:nvPr/>
            </p:nvSpPr>
            <p:spPr bwMode="auto">
              <a:xfrm>
                <a:off x="7632696" y="4735522"/>
                <a:ext cx="96838" cy="31750"/>
              </a:xfrm>
              <a:custGeom>
                <a:avLst/>
                <a:gdLst/>
                <a:ahLst/>
                <a:cxnLst>
                  <a:cxn ang="0">
                    <a:pos x="7" y="16"/>
                  </a:cxn>
                  <a:cxn ang="0">
                    <a:pos x="43" y="16"/>
                  </a:cxn>
                  <a:cxn ang="0">
                    <a:pos x="50" y="8"/>
                  </a:cxn>
                  <a:cxn ang="0">
                    <a:pos x="43" y="0"/>
                  </a:cxn>
                  <a:cxn ang="0">
                    <a:pos x="7" y="0"/>
                  </a:cxn>
                  <a:cxn ang="0">
                    <a:pos x="0" y="8"/>
                  </a:cxn>
                  <a:cxn ang="0">
                    <a:pos x="7" y="16"/>
                  </a:cxn>
                </a:cxnLst>
                <a:rect l="0" t="0" r="r" b="b"/>
                <a:pathLst>
                  <a:path w="50" h="16">
                    <a:moveTo>
                      <a:pt x="7" y="16"/>
                    </a:moveTo>
                    <a:cubicBezTo>
                      <a:pt x="24" y="16"/>
                      <a:pt x="26" y="16"/>
                      <a:pt x="43" y="16"/>
                    </a:cubicBezTo>
                    <a:cubicBezTo>
                      <a:pt x="47" y="16"/>
                      <a:pt x="50" y="12"/>
                      <a:pt x="50" y="8"/>
                    </a:cubicBezTo>
                    <a:cubicBezTo>
                      <a:pt x="50" y="4"/>
                      <a:pt x="47" y="0"/>
                      <a:pt x="43" y="0"/>
                    </a:cubicBezTo>
                    <a:cubicBezTo>
                      <a:pt x="26" y="0"/>
                      <a:pt x="24" y="0"/>
                      <a:pt x="7" y="0"/>
                    </a:cubicBezTo>
                    <a:cubicBezTo>
                      <a:pt x="3" y="0"/>
                      <a:pt x="0" y="4"/>
                      <a:pt x="0" y="8"/>
                    </a:cubicBezTo>
                    <a:cubicBezTo>
                      <a:pt x="0" y="12"/>
                      <a:pt x="3" y="16"/>
                      <a:pt x="7" y="16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02" name="Freeform 81"/>
              <p:cNvSpPr>
                <a:spLocks/>
              </p:cNvSpPr>
              <p:nvPr/>
            </p:nvSpPr>
            <p:spPr bwMode="auto">
              <a:xfrm>
                <a:off x="7751759" y="4633922"/>
                <a:ext cx="227013" cy="133350"/>
              </a:xfrm>
              <a:custGeom>
                <a:avLst/>
                <a:gdLst/>
                <a:ahLst/>
                <a:cxnLst>
                  <a:cxn ang="0">
                    <a:pos x="21" y="44"/>
                  </a:cxn>
                  <a:cxn ang="0">
                    <a:pos x="24" y="35"/>
                  </a:cxn>
                  <a:cxn ang="0">
                    <a:pos x="24" y="68"/>
                  </a:cxn>
                  <a:cxn ang="0">
                    <a:pos x="59" y="69"/>
                  </a:cxn>
                  <a:cxn ang="0">
                    <a:pos x="93" y="68"/>
                  </a:cxn>
                  <a:cxn ang="0">
                    <a:pos x="93" y="35"/>
                  </a:cxn>
                  <a:cxn ang="0">
                    <a:pos x="96" y="44"/>
                  </a:cxn>
                  <a:cxn ang="0">
                    <a:pos x="96" y="67"/>
                  </a:cxn>
                  <a:cxn ang="0">
                    <a:pos x="117" y="65"/>
                  </a:cxn>
                  <a:cxn ang="0">
                    <a:pos x="117" y="37"/>
                  </a:cxn>
                  <a:cxn ang="0">
                    <a:pos x="107" y="11"/>
                  </a:cxn>
                  <a:cxn ang="0">
                    <a:pos x="78" y="0"/>
                  </a:cxn>
                  <a:cxn ang="0">
                    <a:pos x="77" y="0"/>
                  </a:cxn>
                  <a:cxn ang="0">
                    <a:pos x="77" y="0"/>
                  </a:cxn>
                  <a:cxn ang="0">
                    <a:pos x="67" y="44"/>
                  </a:cxn>
                  <a:cxn ang="0">
                    <a:pos x="62" y="14"/>
                  </a:cxn>
                  <a:cxn ang="0">
                    <a:pos x="65" y="7"/>
                  </a:cxn>
                  <a:cxn ang="0">
                    <a:pos x="60" y="2"/>
                  </a:cxn>
                  <a:cxn ang="0">
                    <a:pos x="59" y="2"/>
                  </a:cxn>
                  <a:cxn ang="0">
                    <a:pos x="59" y="2"/>
                  </a:cxn>
                  <a:cxn ang="0">
                    <a:pos x="57" y="2"/>
                  </a:cxn>
                  <a:cxn ang="0">
                    <a:pos x="52" y="7"/>
                  </a:cxn>
                  <a:cxn ang="0">
                    <a:pos x="55" y="14"/>
                  </a:cxn>
                  <a:cxn ang="0">
                    <a:pos x="50" y="44"/>
                  </a:cxn>
                  <a:cxn ang="0">
                    <a:pos x="41" y="0"/>
                  </a:cxn>
                  <a:cxn ang="0">
                    <a:pos x="40" y="0"/>
                  </a:cxn>
                  <a:cxn ang="0">
                    <a:pos x="40" y="0"/>
                  </a:cxn>
                  <a:cxn ang="0">
                    <a:pos x="10" y="11"/>
                  </a:cxn>
                  <a:cxn ang="0">
                    <a:pos x="0" y="37"/>
                  </a:cxn>
                  <a:cxn ang="0">
                    <a:pos x="0" y="65"/>
                  </a:cxn>
                  <a:cxn ang="0">
                    <a:pos x="21" y="68"/>
                  </a:cxn>
                  <a:cxn ang="0">
                    <a:pos x="21" y="44"/>
                  </a:cxn>
                </a:cxnLst>
                <a:rect l="0" t="0" r="r" b="b"/>
                <a:pathLst>
                  <a:path w="117" h="69">
                    <a:moveTo>
                      <a:pt x="21" y="44"/>
                    </a:moveTo>
                    <a:cubicBezTo>
                      <a:pt x="21" y="40"/>
                      <a:pt x="23" y="37"/>
                      <a:pt x="24" y="35"/>
                    </a:cubicBezTo>
                    <a:cubicBezTo>
                      <a:pt x="24" y="68"/>
                      <a:pt x="24" y="68"/>
                      <a:pt x="24" y="68"/>
                    </a:cubicBezTo>
                    <a:cubicBezTo>
                      <a:pt x="34" y="69"/>
                      <a:pt x="47" y="69"/>
                      <a:pt x="59" y="69"/>
                    </a:cubicBezTo>
                    <a:cubicBezTo>
                      <a:pt x="70" y="69"/>
                      <a:pt x="83" y="69"/>
                      <a:pt x="93" y="68"/>
                    </a:cubicBezTo>
                    <a:cubicBezTo>
                      <a:pt x="93" y="35"/>
                      <a:pt x="93" y="35"/>
                      <a:pt x="93" y="35"/>
                    </a:cubicBezTo>
                    <a:cubicBezTo>
                      <a:pt x="95" y="37"/>
                      <a:pt x="96" y="40"/>
                      <a:pt x="96" y="44"/>
                    </a:cubicBezTo>
                    <a:cubicBezTo>
                      <a:pt x="96" y="46"/>
                      <a:pt x="96" y="59"/>
                      <a:pt x="96" y="67"/>
                    </a:cubicBezTo>
                    <a:cubicBezTo>
                      <a:pt x="104" y="67"/>
                      <a:pt x="110" y="66"/>
                      <a:pt x="117" y="65"/>
                    </a:cubicBezTo>
                    <a:cubicBezTo>
                      <a:pt x="117" y="54"/>
                      <a:pt x="117" y="39"/>
                      <a:pt x="117" y="37"/>
                    </a:cubicBezTo>
                    <a:cubicBezTo>
                      <a:pt x="116" y="19"/>
                      <a:pt x="110" y="14"/>
                      <a:pt x="107" y="11"/>
                    </a:cubicBezTo>
                    <a:cubicBezTo>
                      <a:pt x="99" y="7"/>
                      <a:pt x="84" y="2"/>
                      <a:pt x="78" y="0"/>
                    </a:cubicBezTo>
                    <a:cubicBezTo>
                      <a:pt x="77" y="0"/>
                      <a:pt x="77" y="0"/>
                      <a:pt x="77" y="0"/>
                    </a:cubicBezTo>
                    <a:cubicBezTo>
                      <a:pt x="77" y="0"/>
                      <a:pt x="77" y="0"/>
                      <a:pt x="77" y="0"/>
                    </a:cubicBezTo>
                    <a:cubicBezTo>
                      <a:pt x="76" y="6"/>
                      <a:pt x="67" y="44"/>
                      <a:pt x="67" y="44"/>
                    </a:cubicBezTo>
                    <a:cubicBezTo>
                      <a:pt x="67" y="44"/>
                      <a:pt x="62" y="14"/>
                      <a:pt x="62" y="14"/>
                    </a:cubicBezTo>
                    <a:cubicBezTo>
                      <a:pt x="62" y="14"/>
                      <a:pt x="65" y="7"/>
                      <a:pt x="65" y="7"/>
                    </a:cubicBezTo>
                    <a:cubicBezTo>
                      <a:pt x="60" y="2"/>
                      <a:pt x="60" y="2"/>
                      <a:pt x="60" y="2"/>
                    </a:cubicBezTo>
                    <a:cubicBezTo>
                      <a:pt x="59" y="2"/>
                      <a:pt x="59" y="2"/>
                      <a:pt x="59" y="2"/>
                    </a:cubicBezTo>
                    <a:cubicBezTo>
                      <a:pt x="59" y="2"/>
                      <a:pt x="59" y="2"/>
                      <a:pt x="59" y="2"/>
                    </a:cubicBezTo>
                    <a:cubicBezTo>
                      <a:pt x="57" y="2"/>
                      <a:pt x="57" y="2"/>
                      <a:pt x="57" y="2"/>
                    </a:cubicBezTo>
                    <a:cubicBezTo>
                      <a:pt x="52" y="7"/>
                      <a:pt x="52" y="7"/>
                      <a:pt x="52" y="7"/>
                    </a:cubicBezTo>
                    <a:cubicBezTo>
                      <a:pt x="55" y="14"/>
                      <a:pt x="55" y="14"/>
                      <a:pt x="55" y="14"/>
                    </a:cubicBezTo>
                    <a:cubicBezTo>
                      <a:pt x="50" y="44"/>
                      <a:pt x="50" y="44"/>
                      <a:pt x="50" y="44"/>
                    </a:cubicBezTo>
                    <a:cubicBezTo>
                      <a:pt x="50" y="44"/>
                      <a:pt x="41" y="6"/>
                      <a:pt x="41" y="0"/>
                    </a:cubicBezTo>
                    <a:cubicBezTo>
                      <a:pt x="41" y="0"/>
                      <a:pt x="40" y="0"/>
                      <a:pt x="40" y="0"/>
                    </a:cubicBezTo>
                    <a:cubicBezTo>
                      <a:pt x="40" y="0"/>
                      <a:pt x="40" y="0"/>
                      <a:pt x="40" y="0"/>
                    </a:cubicBezTo>
                    <a:cubicBezTo>
                      <a:pt x="34" y="2"/>
                      <a:pt x="18" y="7"/>
                      <a:pt x="10" y="11"/>
                    </a:cubicBezTo>
                    <a:cubicBezTo>
                      <a:pt x="7" y="14"/>
                      <a:pt x="2" y="19"/>
                      <a:pt x="0" y="37"/>
                    </a:cubicBezTo>
                    <a:cubicBezTo>
                      <a:pt x="0" y="39"/>
                      <a:pt x="0" y="54"/>
                      <a:pt x="0" y="65"/>
                    </a:cubicBezTo>
                    <a:cubicBezTo>
                      <a:pt x="7" y="66"/>
                      <a:pt x="13" y="67"/>
                      <a:pt x="21" y="68"/>
                    </a:cubicBezTo>
                    <a:cubicBezTo>
                      <a:pt x="21" y="60"/>
                      <a:pt x="21" y="47"/>
                      <a:pt x="21" y="44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03" name="Freeform 82"/>
              <p:cNvSpPr>
                <a:spLocks/>
              </p:cNvSpPr>
              <p:nvPr/>
            </p:nvSpPr>
            <p:spPr bwMode="auto">
              <a:xfrm>
                <a:off x="7808909" y="4487871"/>
                <a:ext cx="115888" cy="134938"/>
              </a:xfrm>
              <a:custGeom>
                <a:avLst/>
                <a:gdLst/>
                <a:ahLst/>
                <a:cxnLst>
                  <a:cxn ang="0">
                    <a:pos x="6" y="46"/>
                  </a:cxn>
                  <a:cxn ang="0">
                    <a:pos x="30" y="70"/>
                  </a:cxn>
                  <a:cxn ang="0">
                    <a:pos x="54" y="45"/>
                  </a:cxn>
                  <a:cxn ang="0">
                    <a:pos x="59" y="34"/>
                  </a:cxn>
                  <a:cxn ang="0">
                    <a:pos x="56" y="29"/>
                  </a:cxn>
                  <a:cxn ang="0">
                    <a:pos x="30" y="0"/>
                  </a:cxn>
                  <a:cxn ang="0">
                    <a:pos x="4" y="29"/>
                  </a:cxn>
                  <a:cxn ang="0">
                    <a:pos x="0" y="34"/>
                  </a:cxn>
                  <a:cxn ang="0">
                    <a:pos x="6" y="46"/>
                  </a:cxn>
                </a:cxnLst>
                <a:rect l="0" t="0" r="r" b="b"/>
                <a:pathLst>
                  <a:path w="60" h="70">
                    <a:moveTo>
                      <a:pt x="6" y="46"/>
                    </a:moveTo>
                    <a:cubicBezTo>
                      <a:pt x="10" y="59"/>
                      <a:pt x="17" y="70"/>
                      <a:pt x="30" y="70"/>
                    </a:cubicBezTo>
                    <a:cubicBezTo>
                      <a:pt x="43" y="70"/>
                      <a:pt x="51" y="58"/>
                      <a:pt x="54" y="45"/>
                    </a:cubicBezTo>
                    <a:cubicBezTo>
                      <a:pt x="57" y="44"/>
                      <a:pt x="60" y="38"/>
                      <a:pt x="59" y="34"/>
                    </a:cubicBezTo>
                    <a:cubicBezTo>
                      <a:pt x="59" y="31"/>
                      <a:pt x="58" y="30"/>
                      <a:pt x="56" y="29"/>
                    </a:cubicBezTo>
                    <a:cubicBezTo>
                      <a:pt x="55" y="13"/>
                      <a:pt x="45" y="0"/>
                      <a:pt x="30" y="0"/>
                    </a:cubicBezTo>
                    <a:cubicBezTo>
                      <a:pt x="15" y="0"/>
                      <a:pt x="5" y="13"/>
                      <a:pt x="4" y="29"/>
                    </a:cubicBezTo>
                    <a:cubicBezTo>
                      <a:pt x="2" y="29"/>
                      <a:pt x="1" y="31"/>
                      <a:pt x="0" y="34"/>
                    </a:cubicBezTo>
                    <a:cubicBezTo>
                      <a:pt x="0" y="38"/>
                      <a:pt x="2" y="44"/>
                      <a:pt x="6" y="46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</p:grpSp>
        <p:grpSp>
          <p:nvGrpSpPr>
            <p:cNvPr id="90" name="Группа 89"/>
            <p:cNvGrpSpPr/>
            <p:nvPr/>
          </p:nvGrpSpPr>
          <p:grpSpPr>
            <a:xfrm>
              <a:off x="3672216" y="4762448"/>
              <a:ext cx="480204" cy="407719"/>
              <a:chOff x="3650616" y="4762448"/>
              <a:chExt cx="480204" cy="407719"/>
            </a:xfrm>
          </p:grpSpPr>
          <p:sp>
            <p:nvSpPr>
              <p:cNvPr id="91" name="Oval 374"/>
              <p:cNvSpPr/>
              <p:nvPr/>
            </p:nvSpPr>
            <p:spPr>
              <a:xfrm>
                <a:off x="3650616" y="4762448"/>
                <a:ext cx="480204" cy="407719"/>
              </a:xfrm>
              <a:prstGeom prst="ellipse">
                <a:avLst/>
              </a:prstGeom>
              <a:solidFill>
                <a:schemeClr val="bg1">
                  <a:lumMod val="50000"/>
                </a:schemeClr>
              </a:solidFill>
              <a:ln w="28575">
                <a:solidFill>
                  <a:schemeClr val="accent4">
                    <a:lumMod val="60000"/>
                    <a:lumOff val="40000"/>
                  </a:schemeClr>
                </a:solidFill>
                <a:round/>
                <a:headEnd/>
                <a:tailEnd/>
              </a:ln>
              <a:extLst/>
            </p:spPr>
            <p:txBody>
              <a:bodyPr vert="horz" wrap="square" lIns="72809" tIns="36405" rIns="72809" bIns="36405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 kern="0" dirty="0" err="1">
                  <a:solidFill>
                    <a:prstClr val="black"/>
                  </a:solidFill>
                  <a:latin typeface="Arial"/>
                </a:endParaRPr>
              </a:p>
            </p:txBody>
          </p:sp>
          <p:grpSp>
            <p:nvGrpSpPr>
              <p:cNvPr id="92" name="Group 375"/>
              <p:cNvGrpSpPr/>
              <p:nvPr/>
            </p:nvGrpSpPr>
            <p:grpSpPr>
              <a:xfrm>
                <a:off x="3752659" y="4861787"/>
                <a:ext cx="276118" cy="205804"/>
                <a:chOff x="2614371" y="2150891"/>
                <a:chExt cx="597231" cy="524283"/>
              </a:xfrm>
            </p:grpSpPr>
            <p:sp>
              <p:nvSpPr>
                <p:cNvPr id="93" name="Rounded Rectangle 376"/>
                <p:cNvSpPr>
                  <a:spLocks/>
                </p:cNvSpPr>
                <p:nvPr/>
              </p:nvSpPr>
              <p:spPr>
                <a:xfrm>
                  <a:off x="2614371" y="2420069"/>
                  <a:ext cx="141167" cy="255104"/>
                </a:xfrm>
                <a:prstGeom prst="roundRect">
                  <a:avLst/>
                </a:prstGeom>
                <a:solidFill>
                  <a:schemeClr val="bg1">
                    <a:lumMod val="95000"/>
                  </a:schemeClr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72809" tIns="36405" rIns="72809" bIns="36405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200" kern="0" dirty="0" err="1">
                    <a:solidFill>
                      <a:prstClr val="black"/>
                    </a:solidFill>
                    <a:latin typeface="Arial"/>
                  </a:endParaRPr>
                </a:p>
              </p:txBody>
            </p:sp>
            <p:sp>
              <p:nvSpPr>
                <p:cNvPr id="94" name="Rounded Rectangle 377"/>
                <p:cNvSpPr>
                  <a:spLocks/>
                </p:cNvSpPr>
                <p:nvPr/>
              </p:nvSpPr>
              <p:spPr>
                <a:xfrm>
                  <a:off x="2842403" y="2150891"/>
                  <a:ext cx="141167" cy="524283"/>
                </a:xfrm>
                <a:prstGeom prst="roundRect">
                  <a:avLst/>
                </a:prstGeom>
                <a:solidFill>
                  <a:schemeClr val="bg1">
                    <a:lumMod val="95000"/>
                  </a:schemeClr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72809" tIns="36405" rIns="72809" bIns="36405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200" kern="0" dirty="0" err="1">
                    <a:solidFill>
                      <a:prstClr val="black"/>
                    </a:solidFill>
                    <a:latin typeface="Arial"/>
                  </a:endParaRPr>
                </a:p>
              </p:txBody>
            </p:sp>
            <p:sp>
              <p:nvSpPr>
                <p:cNvPr id="95" name="Rounded Rectangle 378"/>
                <p:cNvSpPr/>
                <p:nvPr/>
              </p:nvSpPr>
              <p:spPr>
                <a:xfrm>
                  <a:off x="3070435" y="2256792"/>
                  <a:ext cx="141167" cy="418382"/>
                </a:xfrm>
                <a:prstGeom prst="roundRect">
                  <a:avLst/>
                </a:prstGeom>
                <a:solidFill>
                  <a:schemeClr val="bg1">
                    <a:lumMod val="95000"/>
                  </a:schemeClr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72809" tIns="36405" rIns="72809" bIns="36405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200" kern="0" dirty="0" err="1">
                    <a:solidFill>
                      <a:prstClr val="black"/>
                    </a:solidFill>
                    <a:latin typeface="Arial"/>
                  </a:endParaRPr>
                </a:p>
              </p:txBody>
            </p:sp>
          </p:grpSp>
        </p:grpSp>
      </p:grpSp>
    </p:spTree>
    <p:extLst>
      <p:ext uri="{BB962C8B-B14F-4D97-AF65-F5344CB8AC3E}">
        <p14:creationId xmlns:p14="http://schemas.microsoft.com/office/powerpoint/2010/main" val="36320181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5" grpId="0"/>
      <p:bldP spid="30" grpId="0"/>
      <p:bldP spid="29" grpId="0"/>
      <p:bldP spid="39" grpId="0"/>
      <p:bldP spid="44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10" name="Слайд think-cell" r:id="rId6" imgW="347" imgH="346" progId="TCLayout.ActiveDocument.1">
                  <p:embed/>
                </p:oleObj>
              </mc:Choice>
              <mc:Fallback>
                <p:oleObj name="Слайд think-cell" r:id="rId6" imgW="347" imgH="346" progId="TCLayout.ActiveDocument.1">
                  <p:embed/>
                  <p:pic>
                    <p:nvPicPr>
                      <p:cNvPr id="2" name="Объект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Прямоугольник 6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ru-RU" sz="2462" b="1" dirty="0">
              <a:latin typeface="Calibri" panose="020F0502020204030204" pitchFamily="34" charset="0"/>
              <a:ea typeface="+mj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38" name="Rectangle 20">
            <a:extLst>
              <a:ext uri="{FF2B5EF4-FFF2-40B4-BE49-F238E27FC236}">
                <a16:creationId xmlns:a16="http://schemas.microsoft.com/office/drawing/2014/main" xmlns="" id="{35243DD3-35C7-4641-81AE-B18CF3869EEF}"/>
              </a:ext>
            </a:extLst>
          </p:cNvPr>
          <p:cNvSpPr/>
          <p:nvPr/>
        </p:nvSpPr>
        <p:spPr>
          <a:xfrm>
            <a:off x="3372729" y="863601"/>
            <a:ext cx="8740893" cy="5876833"/>
          </a:xfrm>
          <a:prstGeom prst="rect">
            <a:avLst/>
          </a:prstGeom>
          <a:solidFill>
            <a:srgbClr val="FFFFFF"/>
          </a:solidFill>
          <a:ln w="25400" cap="flat" cmpd="sng" algn="ctr">
            <a:solidFill>
              <a:schemeClr val="bg1">
                <a:lumMod val="95000"/>
              </a:schemeClr>
            </a:solidFill>
            <a:prstDash val="solid"/>
            <a:miter lim="800000"/>
          </a:ln>
          <a:effectLst>
            <a:outerShdw blurRad="393700" dist="50800" dir="5400000" algn="ctr" rotWithShape="0">
              <a:srgbClr val="000000">
                <a:alpha val="25000"/>
              </a:srgbClr>
            </a:outerShdw>
          </a:effectLst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3213101" y="139042"/>
            <a:ext cx="8978900" cy="610258"/>
          </a:xfrm>
        </p:spPr>
        <p:txBody>
          <a:bodyPr/>
          <a:lstStyle/>
          <a:p>
            <a:r>
              <a:rPr lang="ru-RU" sz="4000" dirty="0"/>
              <a:t>Что помогло реализовать проект за 1 год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4087675" y="1610578"/>
            <a:ext cx="7875343" cy="44012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800" b="1" dirty="0" smtClean="0"/>
              <a:t>Минимум доработок 1С:УХ</a:t>
            </a:r>
          </a:p>
          <a:p>
            <a:endParaRPr lang="ru-RU" sz="2800" b="1" dirty="0" smtClean="0"/>
          </a:p>
          <a:p>
            <a:r>
              <a:rPr lang="ru-RU" sz="2800" b="1" dirty="0" smtClean="0"/>
              <a:t>Ранжирование доработок по степени критичности</a:t>
            </a:r>
          </a:p>
          <a:p>
            <a:endParaRPr lang="ru-RU" sz="2800" b="1" dirty="0"/>
          </a:p>
          <a:p>
            <a:r>
              <a:rPr lang="ru-RU" sz="2800" b="1" dirty="0" smtClean="0"/>
              <a:t>Пилотный проект: УК + крупное ДЗО</a:t>
            </a:r>
          </a:p>
          <a:p>
            <a:endParaRPr lang="en-US" sz="2800" b="1" dirty="0" smtClean="0"/>
          </a:p>
          <a:p>
            <a:r>
              <a:rPr lang="ru-RU" sz="2800" b="1" dirty="0" smtClean="0"/>
              <a:t>Шаблон для ввода пользователей в 1С:УХ</a:t>
            </a:r>
          </a:p>
          <a:p>
            <a:endParaRPr lang="ru-RU" sz="2800" b="1" dirty="0"/>
          </a:p>
          <a:p>
            <a:r>
              <a:rPr lang="ru-RU" sz="2800" b="1" dirty="0" smtClean="0"/>
              <a:t>Компетентный партнер разработчик</a:t>
            </a:r>
          </a:p>
        </p:txBody>
      </p:sp>
      <p:sp>
        <p:nvSpPr>
          <p:cNvPr id="75" name="Arrow: Pentagon 150">
            <a:extLst>
              <a:ext uri="{FF2B5EF4-FFF2-40B4-BE49-F238E27FC236}">
                <a16:creationId xmlns:a16="http://schemas.microsoft.com/office/drawing/2014/main" xmlns="" id="{F5EC13E6-6796-4506-8929-3AD11AF8E184}"/>
              </a:ext>
            </a:extLst>
          </p:cNvPr>
          <p:cNvSpPr>
            <a:spLocks/>
          </p:cNvSpPr>
          <p:nvPr/>
        </p:nvSpPr>
        <p:spPr>
          <a:xfrm>
            <a:off x="0" y="863601"/>
            <a:ext cx="3213101" cy="5994399"/>
          </a:xfrm>
          <a:prstGeom prst="homePlate">
            <a:avLst>
              <a:gd name="adj" fmla="val 24112"/>
            </a:avLst>
          </a:prstGeom>
          <a:solidFill>
            <a:schemeClr val="bg1">
              <a:lumMod val="95000"/>
            </a:schemeClr>
          </a:solidFill>
          <a:ln w="9525" cap="rnd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rtlCol="0" anchor="ctr">
            <a:noAutofit/>
          </a:bodyPr>
          <a:lstStyle/>
          <a:p>
            <a:pPr algn="ctr"/>
            <a:endParaRPr lang="ru-RU" dirty="0">
              <a:solidFill>
                <a:schemeClr val="tx1"/>
              </a:solidFill>
            </a:endParaRPr>
          </a:p>
        </p:txBody>
      </p:sp>
      <p:sp>
        <p:nvSpPr>
          <p:cNvPr id="99" name="Freeform: Shape 230">
            <a:extLst>
              <a:ext uri="{FF2B5EF4-FFF2-40B4-BE49-F238E27FC236}">
                <a16:creationId xmlns:a16="http://schemas.microsoft.com/office/drawing/2014/main" xmlns="" id="{1D319330-AEFC-4410-96D4-4BFDCAB30C0B}"/>
              </a:ext>
            </a:extLst>
          </p:cNvPr>
          <p:cNvSpPr/>
          <p:nvPr/>
        </p:nvSpPr>
        <p:spPr>
          <a:xfrm>
            <a:off x="2436602" y="863601"/>
            <a:ext cx="781930" cy="5994399"/>
          </a:xfrm>
          <a:custGeom>
            <a:avLst/>
            <a:gdLst>
              <a:gd name="connsiteX0" fmla="*/ 11574 w 983848"/>
              <a:gd name="connsiteY0" fmla="*/ 0 h 4618298"/>
              <a:gd name="connsiteX1" fmla="*/ 983848 w 983848"/>
              <a:gd name="connsiteY1" fmla="*/ 2326511 h 4618298"/>
              <a:gd name="connsiteX2" fmla="*/ 0 w 983848"/>
              <a:gd name="connsiteY2" fmla="*/ 4618298 h 46182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983848" h="4618298">
                <a:moveTo>
                  <a:pt x="11574" y="0"/>
                </a:moveTo>
                <a:lnTo>
                  <a:pt x="983848" y="2326511"/>
                </a:lnTo>
                <a:lnTo>
                  <a:pt x="0" y="4618298"/>
                </a:lnTo>
              </a:path>
            </a:pathLst>
          </a:custGeom>
          <a:noFill/>
          <a:ln w="9525" cap="rnd">
            <a:solidFill>
              <a:schemeClr val="bg1">
                <a:lumMod val="50000"/>
                <a:alpha val="89804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chemeClr val="bg1"/>
              </a:solidFill>
            </a:endParaRPr>
          </a:p>
        </p:txBody>
      </p:sp>
      <p:pic>
        <p:nvPicPr>
          <p:cNvPr id="18" name="Picture 4" descr="https://thumbs.dreamstime.com/z/%D0%BB%D1%8E-%D0%B8-%D0%B2-%D1%84%D0%BE%D1%80%D0%BC%D0%B5-%D1%87%D0%B0%D1%81%D0%BE%D0%B2-47691763.jpg"/>
          <p:cNvPicPr>
            <a:picLocks noChangeAspect="1" noChangeArrowheads="1"/>
          </p:cNvPicPr>
          <p:nvPr/>
        </p:nvPicPr>
        <p:blipFill rotWithShape="1">
          <a:blip r:embed="rId8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-1809766" y="1309712"/>
            <a:ext cx="4751793" cy="48886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" name="Picture 2" descr="https://st2.depositphotos.com/3746989/7523/i/950/depositphotos_75237463-stock-photo-people-in-the-shape-of.jpg"/>
          <p:cNvPicPr>
            <a:picLocks noChangeAspect="1" noChangeArrowheads="1"/>
          </p:cNvPicPr>
          <p:nvPr/>
        </p:nvPicPr>
        <p:blipFill rotWithShape="1">
          <a:blip r:embed="rId9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3500724" y="5500077"/>
            <a:ext cx="544286" cy="5117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2" descr="https://st2.depositphotos.com/3746989/7523/i/950/depositphotos_75237463-stock-photo-people-in-the-shape-of.jpg"/>
          <p:cNvPicPr>
            <a:picLocks noChangeAspect="1" noChangeArrowheads="1"/>
          </p:cNvPicPr>
          <p:nvPr/>
        </p:nvPicPr>
        <p:blipFill rotWithShape="1">
          <a:blip r:embed="rId10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3458059" y="1640765"/>
            <a:ext cx="544286" cy="4565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" name="Picture 2" descr="https://st2.depositphotos.com/3746989/7523/i/950/depositphotos_75237463-stock-photo-people-in-the-shape-of.jpg"/>
          <p:cNvPicPr>
            <a:picLocks noChangeAspect="1" noChangeArrowheads="1"/>
          </p:cNvPicPr>
          <p:nvPr/>
        </p:nvPicPr>
        <p:blipFill rotWithShape="1">
          <a:blip r:embed="rId10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3458059" y="2471389"/>
            <a:ext cx="544286" cy="4565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" name="Picture 2" descr="https://st2.depositphotos.com/3746989/7523/i/950/depositphotos_75237463-stock-photo-people-in-the-shape-of.jpg"/>
          <p:cNvPicPr>
            <a:picLocks noChangeAspect="1" noChangeArrowheads="1"/>
          </p:cNvPicPr>
          <p:nvPr/>
        </p:nvPicPr>
        <p:blipFill rotWithShape="1">
          <a:blip r:embed="rId10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3458059" y="4628536"/>
            <a:ext cx="544286" cy="4565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5" name="Picture 2" descr="https://st2.depositphotos.com/3746989/7523/i/950/depositphotos_75237463-stock-photo-people-in-the-shape-of.jpg"/>
          <p:cNvPicPr>
            <a:picLocks noChangeAspect="1" noChangeArrowheads="1"/>
          </p:cNvPicPr>
          <p:nvPr/>
        </p:nvPicPr>
        <p:blipFill rotWithShape="1">
          <a:blip r:embed="rId10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3458059" y="3677889"/>
            <a:ext cx="544286" cy="4565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345592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uiExpand="1" build="p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19" name="Слайд think-cell" r:id="rId6" imgW="347" imgH="346" progId="TCLayout.ActiveDocument.1">
                  <p:embed/>
                </p:oleObj>
              </mc:Choice>
              <mc:Fallback>
                <p:oleObj name="Слайд think-cell" r:id="rId6" imgW="347" imgH="34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Прямоугольник 6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ru-RU" sz="2462" b="1" dirty="0">
              <a:latin typeface="Calibri" panose="020F0502020204030204" pitchFamily="34" charset="0"/>
              <a:ea typeface="+mj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38" name="Rectangle 20">
            <a:extLst>
              <a:ext uri="{FF2B5EF4-FFF2-40B4-BE49-F238E27FC236}">
                <a16:creationId xmlns:a16="http://schemas.microsoft.com/office/drawing/2014/main" xmlns="" id="{35243DD3-35C7-4641-81AE-B18CF3869EEF}"/>
              </a:ext>
            </a:extLst>
          </p:cNvPr>
          <p:cNvSpPr/>
          <p:nvPr/>
        </p:nvSpPr>
        <p:spPr>
          <a:xfrm>
            <a:off x="3372729" y="863601"/>
            <a:ext cx="8740893" cy="5876833"/>
          </a:xfrm>
          <a:prstGeom prst="rect">
            <a:avLst/>
          </a:prstGeom>
          <a:solidFill>
            <a:srgbClr val="FFFFFF"/>
          </a:solidFill>
          <a:ln w="25400" cap="flat" cmpd="sng" algn="ctr">
            <a:solidFill>
              <a:schemeClr val="bg1">
                <a:lumMod val="95000"/>
              </a:schemeClr>
            </a:solidFill>
            <a:prstDash val="solid"/>
            <a:miter lim="800000"/>
          </a:ln>
          <a:effectLst>
            <a:outerShdw blurRad="393700" dist="50800" dir="5400000" algn="ctr" rotWithShape="0">
              <a:srgbClr val="000000">
                <a:alpha val="25000"/>
              </a:srgbClr>
            </a:outerShdw>
          </a:effectLst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4106619" y="1477455"/>
            <a:ext cx="7998820" cy="48320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800" b="1" dirty="0"/>
              <a:t>Единообразие процессов</a:t>
            </a:r>
          </a:p>
          <a:p>
            <a:endParaRPr lang="ru-RU" sz="2800" dirty="0" smtClean="0">
              <a:solidFill>
                <a:schemeClr val="bg1">
                  <a:lumMod val="50000"/>
                </a:schemeClr>
              </a:solidFill>
            </a:endParaRPr>
          </a:p>
          <a:p>
            <a:r>
              <a:rPr lang="ru-RU" sz="2800" b="1" dirty="0"/>
              <a:t>Параллельная автоматизация и </a:t>
            </a:r>
            <a:r>
              <a:rPr lang="ru-RU" sz="2800" b="1" dirty="0" smtClean="0"/>
              <a:t>централизация</a:t>
            </a:r>
          </a:p>
          <a:p>
            <a:endParaRPr lang="ru-RU" sz="2800" b="1" dirty="0"/>
          </a:p>
          <a:p>
            <a:r>
              <a:rPr lang="ru-RU" sz="2800" b="1" dirty="0" smtClean="0"/>
              <a:t>Поэтапное онлайн обучение по ВКС</a:t>
            </a:r>
          </a:p>
          <a:p>
            <a:endParaRPr lang="ru-RU" sz="2800" b="1" dirty="0" smtClean="0"/>
          </a:p>
          <a:p>
            <a:r>
              <a:rPr lang="ru-RU" sz="2800" b="1" dirty="0" smtClean="0"/>
              <a:t>Правильный подход к инструкциям</a:t>
            </a:r>
          </a:p>
          <a:p>
            <a:endParaRPr lang="ru-RU" sz="2800" b="1" dirty="0" smtClean="0"/>
          </a:p>
          <a:p>
            <a:r>
              <a:rPr lang="ru-RU" sz="2800" b="1" dirty="0" smtClean="0"/>
              <a:t>Внедрение системы оплаты труда </a:t>
            </a:r>
            <a:br>
              <a:rPr lang="ru-RU" sz="2800" b="1" dirty="0" smtClean="0"/>
            </a:br>
            <a:r>
              <a:rPr lang="en-US" sz="2800" b="1" dirty="0" smtClean="0"/>
              <a:t>mass payment</a:t>
            </a:r>
            <a:endParaRPr lang="ru-RU" sz="2800" b="1" dirty="0" smtClean="0"/>
          </a:p>
        </p:txBody>
      </p:sp>
      <p:sp>
        <p:nvSpPr>
          <p:cNvPr id="19" name="Title 4"/>
          <p:cNvSpPr>
            <a:spLocks noGrp="1"/>
          </p:cNvSpPr>
          <p:nvPr>
            <p:ph type="title"/>
          </p:nvPr>
        </p:nvSpPr>
        <p:spPr>
          <a:xfrm>
            <a:off x="3213100" y="165100"/>
            <a:ext cx="8978900" cy="587840"/>
          </a:xfrm>
        </p:spPr>
        <p:txBody>
          <a:bodyPr/>
          <a:lstStyle/>
          <a:p>
            <a:r>
              <a:rPr lang="ru-RU" sz="4000" dirty="0"/>
              <a:t>Что помогло реализовать проект за 1 год</a:t>
            </a:r>
          </a:p>
        </p:txBody>
      </p:sp>
      <p:pic>
        <p:nvPicPr>
          <p:cNvPr id="20" name="Picture 2" descr="https://st2.depositphotos.com/3746989/7523/i/950/depositphotos_75237463-stock-photo-people-in-the-shape-of.jpg"/>
          <p:cNvPicPr>
            <a:picLocks noChangeAspect="1" noChangeArrowheads="1"/>
          </p:cNvPicPr>
          <p:nvPr/>
        </p:nvPicPr>
        <p:blipFill rotWithShape="1">
          <a:blip r:embed="rId8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3537785" y="1521550"/>
            <a:ext cx="544286" cy="5117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" name="Picture 2" descr="https://st2.depositphotos.com/3746989/7523/i/950/depositphotos_75237463-stock-photo-people-in-the-shape-of.jpg"/>
          <p:cNvPicPr>
            <a:picLocks noChangeAspect="1" noChangeArrowheads="1"/>
          </p:cNvPicPr>
          <p:nvPr/>
        </p:nvPicPr>
        <p:blipFill rotWithShape="1">
          <a:blip r:embed="rId8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3493416" y="2510323"/>
            <a:ext cx="544286" cy="5117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2" name="Picture 2" descr="https://st2.depositphotos.com/3746989/7523/i/950/depositphotos_75237463-stock-photo-people-in-the-shape-of.jpg"/>
          <p:cNvPicPr>
            <a:picLocks noChangeAspect="1" noChangeArrowheads="1"/>
          </p:cNvPicPr>
          <p:nvPr/>
        </p:nvPicPr>
        <p:blipFill rotWithShape="1">
          <a:blip r:embed="rId8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3554150" y="3573657"/>
            <a:ext cx="544286" cy="5117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3" name="Picture 2" descr="https://st2.depositphotos.com/3746989/7523/i/950/depositphotos_75237463-stock-photo-people-in-the-shape-of.jpg"/>
          <p:cNvPicPr>
            <a:picLocks noChangeAspect="1" noChangeArrowheads="1"/>
          </p:cNvPicPr>
          <p:nvPr/>
        </p:nvPicPr>
        <p:blipFill rotWithShape="1">
          <a:blip r:embed="rId8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3537785" y="4561319"/>
            <a:ext cx="544286" cy="5117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4" name="Picture 2" descr="https://st2.depositphotos.com/3746989/7523/i/950/depositphotos_75237463-stock-photo-people-in-the-shape-of.jpg"/>
          <p:cNvPicPr>
            <a:picLocks noChangeAspect="1" noChangeArrowheads="1"/>
          </p:cNvPicPr>
          <p:nvPr/>
        </p:nvPicPr>
        <p:blipFill rotWithShape="1">
          <a:blip r:embed="rId8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3531965" y="5691232"/>
            <a:ext cx="544286" cy="5117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5" name="Arrow: Pentagon 150">
            <a:extLst>
              <a:ext uri="{FF2B5EF4-FFF2-40B4-BE49-F238E27FC236}">
                <a16:creationId xmlns:a16="http://schemas.microsoft.com/office/drawing/2014/main" xmlns="" id="{F5EC13E6-6796-4506-8929-3AD11AF8E184}"/>
              </a:ext>
            </a:extLst>
          </p:cNvPr>
          <p:cNvSpPr>
            <a:spLocks/>
          </p:cNvSpPr>
          <p:nvPr/>
        </p:nvSpPr>
        <p:spPr>
          <a:xfrm>
            <a:off x="0" y="863601"/>
            <a:ext cx="3213101" cy="5994399"/>
          </a:xfrm>
          <a:prstGeom prst="homePlate">
            <a:avLst>
              <a:gd name="adj" fmla="val 24112"/>
            </a:avLst>
          </a:prstGeom>
          <a:solidFill>
            <a:schemeClr val="bg1">
              <a:lumMod val="95000"/>
            </a:schemeClr>
          </a:solidFill>
          <a:ln w="9525" cap="rnd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rtlCol="0" anchor="ctr">
            <a:noAutofit/>
          </a:bodyPr>
          <a:lstStyle/>
          <a:p>
            <a:pPr algn="ctr"/>
            <a:endParaRPr lang="ru-RU" dirty="0">
              <a:solidFill>
                <a:schemeClr val="tx1"/>
              </a:solidFill>
            </a:endParaRPr>
          </a:p>
        </p:txBody>
      </p:sp>
      <p:sp>
        <p:nvSpPr>
          <p:cNvPr id="26" name="Freeform: Shape 230">
            <a:extLst>
              <a:ext uri="{FF2B5EF4-FFF2-40B4-BE49-F238E27FC236}">
                <a16:creationId xmlns:a16="http://schemas.microsoft.com/office/drawing/2014/main" xmlns="" id="{1D319330-AEFC-4410-96D4-4BFDCAB30C0B}"/>
              </a:ext>
            </a:extLst>
          </p:cNvPr>
          <p:cNvSpPr/>
          <p:nvPr/>
        </p:nvSpPr>
        <p:spPr>
          <a:xfrm>
            <a:off x="2436602" y="863601"/>
            <a:ext cx="781930" cy="5994399"/>
          </a:xfrm>
          <a:custGeom>
            <a:avLst/>
            <a:gdLst>
              <a:gd name="connsiteX0" fmla="*/ 11574 w 983848"/>
              <a:gd name="connsiteY0" fmla="*/ 0 h 4618298"/>
              <a:gd name="connsiteX1" fmla="*/ 983848 w 983848"/>
              <a:gd name="connsiteY1" fmla="*/ 2326511 h 4618298"/>
              <a:gd name="connsiteX2" fmla="*/ 0 w 983848"/>
              <a:gd name="connsiteY2" fmla="*/ 4618298 h 46182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983848" h="4618298">
                <a:moveTo>
                  <a:pt x="11574" y="0"/>
                </a:moveTo>
                <a:lnTo>
                  <a:pt x="983848" y="2326511"/>
                </a:lnTo>
                <a:lnTo>
                  <a:pt x="0" y="4618298"/>
                </a:lnTo>
              </a:path>
            </a:pathLst>
          </a:custGeom>
          <a:noFill/>
          <a:ln w="9525" cap="rnd">
            <a:solidFill>
              <a:schemeClr val="bg1">
                <a:lumMod val="50000"/>
                <a:alpha val="89804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chemeClr val="bg1"/>
              </a:solidFill>
            </a:endParaRPr>
          </a:p>
        </p:txBody>
      </p:sp>
      <p:pic>
        <p:nvPicPr>
          <p:cNvPr id="27" name="Picture 4" descr="https://thumbs.dreamstime.com/z/%D0%BB%D1%8E-%D0%B8-%D0%B2-%D1%84%D0%BE%D1%80%D0%BC%D0%B5-%D1%87%D0%B0%D1%81%D0%BE%D0%B2-47691763.jpg"/>
          <p:cNvPicPr>
            <a:picLocks noChangeAspect="1" noChangeArrowheads="1"/>
          </p:cNvPicPr>
          <p:nvPr/>
        </p:nvPicPr>
        <p:blipFill rotWithShape="1">
          <a:blip r:embed="rId9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-1809766" y="1309712"/>
            <a:ext cx="4751793" cy="48886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7632114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uiExpand="1" build="p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47" name="Слайд think-cell" r:id="rId6" imgW="347" imgH="346" progId="TCLayout.ActiveDocument.1">
                  <p:embed/>
                </p:oleObj>
              </mc:Choice>
              <mc:Fallback>
                <p:oleObj name="Слайд think-cell" r:id="rId6" imgW="347" imgH="346" progId="TCLayout.ActiveDocument.1">
                  <p:embed/>
                  <p:pic>
                    <p:nvPicPr>
                      <p:cNvPr id="2" name="Объект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Прямоугольник 6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ru-RU" sz="2462" b="1" dirty="0">
              <a:latin typeface="Calibri" panose="020F0502020204030204" pitchFamily="34" charset="0"/>
              <a:ea typeface="+mj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3180013" y="204306"/>
            <a:ext cx="8975041" cy="527474"/>
          </a:xfrm>
        </p:spPr>
        <p:txBody>
          <a:bodyPr/>
          <a:lstStyle/>
          <a:p>
            <a:r>
              <a:rPr lang="ru-RU" sz="3200" dirty="0" smtClean="0">
                <a:solidFill>
                  <a:schemeClr val="bg1"/>
                </a:solidFill>
                <a:latin typeface="Titillium Web"/>
              </a:rPr>
              <a:t>Результаты</a:t>
            </a:r>
            <a:r>
              <a:rPr lang="ru-RU" sz="3200" spc="0" dirty="0">
                <a:solidFill>
                  <a:schemeClr val="bg1"/>
                </a:solidFill>
                <a:latin typeface="Titillium Web"/>
              </a:rPr>
              <a:t> проекта: Для Холдинга в </a:t>
            </a:r>
            <a:r>
              <a:rPr lang="ru-RU" sz="3200" spc="0" dirty="0" smtClean="0">
                <a:solidFill>
                  <a:schemeClr val="bg1"/>
                </a:solidFill>
                <a:latin typeface="Titillium Web"/>
              </a:rPr>
              <a:t>целом</a:t>
            </a:r>
            <a:r>
              <a:rPr lang="en-US" sz="3200" spc="0" dirty="0" smtClean="0">
                <a:solidFill>
                  <a:schemeClr val="bg1"/>
                </a:solidFill>
                <a:latin typeface="Titillium Web"/>
              </a:rPr>
              <a:t/>
            </a:r>
            <a:br>
              <a:rPr lang="en-US" sz="3200" spc="0" dirty="0" smtClean="0">
                <a:solidFill>
                  <a:schemeClr val="bg1"/>
                </a:solidFill>
                <a:latin typeface="Titillium Web"/>
              </a:rPr>
            </a:br>
            <a:endParaRPr lang="ru-RU" sz="2800" dirty="0">
              <a:solidFill>
                <a:schemeClr val="bg1"/>
              </a:solidFill>
            </a:endParaRPr>
          </a:p>
        </p:txBody>
      </p:sp>
      <p:sp>
        <p:nvSpPr>
          <p:cNvPr id="50" name="ZoneTexte 4"/>
          <p:cNvSpPr txBox="1"/>
          <p:nvPr/>
        </p:nvSpPr>
        <p:spPr>
          <a:xfrm>
            <a:off x="3371272" y="1766802"/>
            <a:ext cx="8652419" cy="3908762"/>
          </a:xfrm>
          <a:prstGeom prst="rect">
            <a:avLst/>
          </a:prstGeom>
          <a:noFill/>
        </p:spPr>
        <p:txBody>
          <a:bodyPr wrap="square" lIns="84406" rIns="0" rtlCol="0">
            <a:spAutoFit/>
          </a:bodyPr>
          <a:lstStyle/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ru-RU" sz="3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</a:rPr>
              <a:t>Сокращение затрат</a:t>
            </a:r>
            <a:r>
              <a:rPr kumimoji="0" lang="ru-RU" sz="3600" b="1" i="0" u="none" strike="noStrike" kern="1200" cap="none" spc="0" normalizeH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</a:rPr>
              <a:t> </a:t>
            </a:r>
            <a:r>
              <a:rPr lang="ru-RU" sz="3200" noProof="0" dirty="0" smtClean="0">
                <a:solidFill>
                  <a:srgbClr val="FFFFFF">
                    <a:lumMod val="50000"/>
                  </a:srgbClr>
                </a:solidFill>
                <a:latin typeface="Calibri"/>
              </a:rPr>
              <a:t/>
            </a:r>
            <a:br>
              <a:rPr lang="ru-RU" sz="3200" noProof="0" dirty="0" smtClean="0">
                <a:solidFill>
                  <a:srgbClr val="FFFFFF">
                    <a:lumMod val="50000"/>
                  </a:srgbClr>
                </a:solidFill>
                <a:latin typeface="Calibri"/>
              </a:rPr>
            </a:br>
            <a:r>
              <a:rPr kumimoji="0" lang="ru-RU" sz="2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Calibri"/>
              </a:rPr>
              <a:t>Снижение стоимости казначейских функций</a:t>
            </a:r>
          </a:p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kumimoji="0" lang="ru-RU" sz="2800" b="0" i="0" u="none" strike="noStrike" kern="1200" cap="none" spc="0" normalizeH="0" baseline="0" noProof="0" dirty="0" smtClean="0">
              <a:ln>
                <a:noFill/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Calibri"/>
            </a:endParaRPr>
          </a:p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ru-RU" sz="3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</a:rPr>
              <a:t>Выстраивание сквозных процессов</a:t>
            </a:r>
            <a:r>
              <a:rPr kumimoji="0" lang="ru-RU" sz="3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Calibri"/>
              </a:rPr>
              <a:t/>
            </a:r>
            <a:br>
              <a:rPr kumimoji="0" lang="ru-RU" sz="3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Calibri"/>
              </a:rPr>
            </a:br>
            <a:r>
              <a:rPr kumimoji="0" lang="ru-RU" sz="2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Calibri"/>
              </a:rPr>
              <a:t>Повышение качества и прозрачности информации</a:t>
            </a:r>
          </a:p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kumimoji="0" lang="ru-RU" sz="2800" b="0" i="0" u="none" strike="noStrike" kern="1200" cap="none" spc="0" normalizeH="0" baseline="0" noProof="0" dirty="0" smtClean="0">
              <a:ln>
                <a:noFill/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Calibri"/>
            </a:endParaRPr>
          </a:p>
          <a:p>
            <a:pPr lvl="0"/>
            <a:r>
              <a:rPr kumimoji="0" lang="ru-RU" sz="3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</a:rPr>
              <a:t>Создание единой ИТ</a:t>
            </a:r>
            <a:r>
              <a:rPr kumimoji="0" lang="ru-RU" sz="3600" b="1" i="0" u="none" strike="noStrike" kern="1200" cap="none" spc="0" normalizeH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</a:rPr>
              <a:t> платформы</a:t>
            </a:r>
            <a:r>
              <a:rPr kumimoji="0" lang="ru-RU" sz="3200" b="1" i="0" u="none" strike="noStrike" kern="1200" cap="none" spc="0" normalizeH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</a:rPr>
              <a:t> </a:t>
            </a:r>
            <a:r>
              <a:rPr lang="ru-RU" sz="2800" dirty="0" smtClean="0">
                <a:solidFill>
                  <a:srgbClr val="FFFFFF">
                    <a:lumMod val="50000"/>
                  </a:srgbClr>
                </a:solidFill>
                <a:latin typeface="Calibri"/>
              </a:rPr>
              <a:t>казначейских </a:t>
            </a:r>
            <a:r>
              <a:rPr lang="ru-RU" sz="2800" dirty="0">
                <a:solidFill>
                  <a:srgbClr val="FFFFFF">
                    <a:lumMod val="50000"/>
                  </a:srgbClr>
                </a:solidFill>
                <a:latin typeface="Calibri"/>
              </a:rPr>
              <a:t>функций</a:t>
            </a:r>
            <a:endParaRPr kumimoji="0" lang="ru-RU" sz="2800" b="0" i="0" u="none" strike="noStrike" kern="1200" cap="none" spc="0" normalizeH="0" baseline="0" noProof="0" dirty="0" smtClean="0">
              <a:ln>
                <a:noFill/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Calibri"/>
            </a:endParaRPr>
          </a:p>
        </p:txBody>
      </p:sp>
      <p:pic>
        <p:nvPicPr>
          <p:cNvPr id="15" name="Picture 4" descr="https://sun9-34.userapi.com/impg/2pv5eaCsObxK13KM6LRJT8TPPWEm-X1VewYSnw/zxZdegN1N8g.jpg?size=2160x2160&amp;quality=96&amp;sign=a1584623fe30ed354dd763150a374af3&amp;type=album"/>
          <p:cNvPicPr>
            <a:picLocks noChangeAspect="1" noChangeArrowheads="1"/>
          </p:cNvPicPr>
          <p:nvPr/>
        </p:nvPicPr>
        <p:blipFill>
          <a:blip r:embed="rId8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871730" y="714451"/>
            <a:ext cx="4781184" cy="47811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4939088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0" grpId="0" uiExpand="1" build="p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45" name="Слайд think-cell" r:id="rId6" imgW="347" imgH="346" progId="TCLayout.ActiveDocument.1">
                  <p:embed/>
                </p:oleObj>
              </mc:Choice>
              <mc:Fallback>
                <p:oleObj name="Слайд think-cell" r:id="rId6" imgW="347" imgH="34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Прямоугольник 6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ru-RU" sz="2462" b="1" dirty="0">
              <a:latin typeface="Calibri" panose="020F0502020204030204" pitchFamily="34" charset="0"/>
              <a:ea typeface="+mj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3263141" y="204306"/>
            <a:ext cx="8928859" cy="527474"/>
          </a:xfrm>
        </p:spPr>
        <p:txBody>
          <a:bodyPr/>
          <a:lstStyle/>
          <a:p>
            <a:r>
              <a:rPr lang="ru-RU" sz="2800" dirty="0">
                <a:solidFill>
                  <a:schemeClr val="bg1"/>
                </a:solidFill>
                <a:latin typeface="Titillium Web"/>
              </a:rPr>
              <a:t>Результаты</a:t>
            </a:r>
            <a:r>
              <a:rPr lang="ru-RU" sz="2800" spc="0" dirty="0">
                <a:solidFill>
                  <a:schemeClr val="bg1"/>
                </a:solidFill>
                <a:latin typeface="Titillium Web"/>
              </a:rPr>
              <a:t> проекта: Для Управляющей </a:t>
            </a:r>
            <a:r>
              <a:rPr lang="ru-RU" sz="2800" spc="0" dirty="0" smtClean="0">
                <a:solidFill>
                  <a:schemeClr val="bg1"/>
                </a:solidFill>
                <a:latin typeface="Titillium Web"/>
              </a:rPr>
              <a:t>компании</a:t>
            </a:r>
            <a:r>
              <a:rPr lang="en-US" sz="2800" spc="0" dirty="0">
                <a:solidFill>
                  <a:schemeClr val="bg1"/>
                </a:solidFill>
                <a:latin typeface="Titillium Web"/>
              </a:rPr>
              <a:t/>
            </a:r>
            <a:br>
              <a:rPr lang="en-US" sz="2800" spc="0" dirty="0">
                <a:solidFill>
                  <a:schemeClr val="bg1"/>
                </a:solidFill>
                <a:latin typeface="Titillium Web"/>
              </a:rPr>
            </a:br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54" name="ZoneTexte 4"/>
          <p:cNvSpPr txBox="1"/>
          <p:nvPr/>
        </p:nvSpPr>
        <p:spPr>
          <a:xfrm>
            <a:off x="2761673" y="1733692"/>
            <a:ext cx="9342342" cy="3970318"/>
          </a:xfrm>
          <a:prstGeom prst="rect">
            <a:avLst/>
          </a:prstGeom>
          <a:noFill/>
        </p:spPr>
        <p:txBody>
          <a:bodyPr wrap="square" lIns="84406" rIns="0" rtlCol="0">
            <a:spAutoFit/>
          </a:bodyPr>
          <a:lstStyle/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ru-RU" sz="3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</a:rPr>
              <a:t>Тотальный онлайн контроль платежей ДЗО</a:t>
            </a:r>
          </a:p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kumimoji="0" lang="ru-RU" sz="3600" b="1" i="0" u="none" strike="noStrike" kern="120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</a:endParaRPr>
          </a:p>
          <a:p>
            <a:pPr lvl="0"/>
            <a:r>
              <a:rPr lang="ru-RU" sz="3600" b="1" dirty="0" smtClean="0">
                <a:solidFill>
                  <a:srgbClr val="000000"/>
                </a:solidFill>
                <a:latin typeface="Calibri"/>
              </a:rPr>
              <a:t>Оперативная </a:t>
            </a:r>
            <a:r>
              <a:rPr lang="ru-RU" sz="3600" b="1" dirty="0">
                <a:solidFill>
                  <a:srgbClr val="000000"/>
                </a:solidFill>
                <a:latin typeface="Calibri"/>
              </a:rPr>
              <a:t>информацию по ДДС </a:t>
            </a:r>
            <a:r>
              <a:rPr lang="ru-RU" sz="3600" b="1" dirty="0" smtClean="0">
                <a:solidFill>
                  <a:srgbClr val="000000"/>
                </a:solidFill>
                <a:latin typeface="Calibri"/>
              </a:rPr>
              <a:t>Холдинга</a:t>
            </a:r>
          </a:p>
          <a:p>
            <a:pPr lvl="0"/>
            <a:endParaRPr lang="ru-RU" sz="3600" b="1" dirty="0" smtClean="0">
              <a:solidFill>
                <a:srgbClr val="000000"/>
              </a:solidFill>
              <a:latin typeface="Calibri"/>
            </a:endParaRPr>
          </a:p>
          <a:p>
            <a:pPr lvl="0"/>
            <a:r>
              <a:rPr lang="ru-RU" sz="3600" b="1" dirty="0" smtClean="0">
                <a:solidFill>
                  <a:srgbClr val="000000"/>
                </a:solidFill>
                <a:latin typeface="Calibri"/>
              </a:rPr>
              <a:t>Платежная дисциплина</a:t>
            </a:r>
          </a:p>
          <a:p>
            <a:pPr lvl="0"/>
            <a:endParaRPr lang="ru-RU" sz="3600" b="1" dirty="0">
              <a:solidFill>
                <a:srgbClr val="000000"/>
              </a:solidFill>
              <a:latin typeface="Calibri"/>
            </a:endParaRPr>
          </a:p>
          <a:p>
            <a:pPr lvl="0"/>
            <a:r>
              <a:rPr kumimoji="0" lang="ru-RU" sz="3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</a:rPr>
              <a:t>Организация внутригрупповых расчетов</a:t>
            </a:r>
            <a:endParaRPr kumimoji="0" lang="ru-RU" sz="3600" b="0" i="0" u="none" strike="noStrike" kern="1200" cap="none" spc="0" normalizeH="0" baseline="0" noProof="0" dirty="0" smtClean="0">
              <a:ln>
                <a:noFill/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Calibri"/>
            </a:endParaRPr>
          </a:p>
        </p:txBody>
      </p:sp>
      <p:pic>
        <p:nvPicPr>
          <p:cNvPr id="14" name="Рисунок 13"/>
          <p:cNvPicPr>
            <a:picLocks noChangeAspect="1"/>
          </p:cNvPicPr>
          <p:nvPr/>
        </p:nvPicPr>
        <p:blipFill rotWithShape="1">
          <a:blip r:embed="rId8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286" r="17792"/>
          <a:stretch/>
        </p:blipFill>
        <p:spPr>
          <a:xfrm>
            <a:off x="-1496179" y="1950416"/>
            <a:ext cx="3843453" cy="32646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322853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4" grpId="0" build="p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L97zJF8jaVZSKwyDt3vW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L97zJF8jaVZSKwyDt3vW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L97zJF8jaVZSKwyDt3vW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L97zJF8jaVZSKwyDt3vW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L97zJF8jaVZSKwyDt3vW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ihwYnfXyE6owUQb6xIbAA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L97zJF8jaVZSKwyDt3vW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L97zJF8jaVZSKwyDt3vW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L97zJF8jaVZSKwyDt3vW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L97zJF8jaVZSKwyDt3vW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L97zJF8jaVZSKwyDt3vW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L97zJF8jaVZSKwyDt3vW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L97zJF8jaVZSKwyDt3vW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L97zJF8jaVZSKwyDt3vW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L97zJF8jaVZSKwyDt3vW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L97zJF8jaVZSKwyDt3vW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Ретро">
  <a:themeElements>
    <a:clrScheme name="АО &quot;Росгео&quot;">
      <a:dk1>
        <a:srgbClr val="000000"/>
      </a:dk1>
      <a:lt1>
        <a:srgbClr val="FFFFFF"/>
      </a:lt1>
      <a:dk2>
        <a:srgbClr val="4550A2"/>
      </a:dk2>
      <a:lt2>
        <a:srgbClr val="FCC410"/>
      </a:lt2>
      <a:accent1>
        <a:srgbClr val="AE235A"/>
      </a:accent1>
      <a:accent2>
        <a:srgbClr val="24B057"/>
      </a:accent2>
      <a:accent3>
        <a:srgbClr val="683093"/>
      </a:accent3>
      <a:accent4>
        <a:srgbClr val="AF8E2F"/>
      </a:accent4>
      <a:accent5>
        <a:srgbClr val="164C4C"/>
      </a:accent5>
      <a:accent6>
        <a:srgbClr val="6D6D6F"/>
      </a:accent6>
      <a:hlink>
        <a:srgbClr val="0168FF"/>
      </a:hlink>
      <a:folHlink>
        <a:srgbClr val="9B9B9B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Retrospect">
      <a:fillStyleLst>
        <a:solidFill>
          <a:schemeClr val="phClr"/>
        </a:solidFill>
        <a:gradFill rotWithShape="1">
          <a:gsLst>
            <a:gs pos="0">
              <a:schemeClr val="phClr">
                <a:tint val="65000"/>
                <a:shade val="92000"/>
                <a:satMod val="130000"/>
              </a:schemeClr>
            </a:gs>
            <a:gs pos="45000">
              <a:schemeClr val="phClr">
                <a:tint val="60000"/>
                <a:shade val="99000"/>
                <a:satMod val="120000"/>
              </a:schemeClr>
            </a:gs>
            <a:gs pos="100000">
              <a:schemeClr val="phClr">
                <a:tint val="55000"/>
                <a:satMod val="14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  <a:satMod val="130000"/>
              </a:schemeClr>
            </a:gs>
            <a:gs pos="34000">
              <a:schemeClr val="phClr">
                <a:shade val="87000"/>
                <a:satMod val="125000"/>
              </a:schemeClr>
            </a:gs>
            <a:gs pos="70000">
              <a:schemeClr val="phClr">
                <a:tint val="100000"/>
                <a:shade val="90000"/>
                <a:satMod val="130000"/>
              </a:schemeClr>
            </a:gs>
            <a:gs pos="100000">
              <a:schemeClr val="phClr">
                <a:tint val="100000"/>
                <a:shade val="100000"/>
                <a:satMod val="11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12700" cap="flat" cmpd="sng" algn="ctr">
          <a:solidFill>
            <a:schemeClr val="phClr"/>
          </a:solidFill>
          <a:prstDash val="solid"/>
        </a:ln>
        <a:ln w="15875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</a:effectStyle>
        <a:effectStyle>
          <a:effectLst>
            <a:outerShdw blurRad="44450" dist="25400" dir="2700000" algn="br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9800000"/>
            </a:lightRig>
          </a:scene3d>
          <a:sp3d prstMaterial="flat">
            <a:bevelT w="25400" h="31750"/>
          </a:sp3d>
        </a:effectStyle>
      </a:effectStyleLst>
      <a:bgFillStyleLst>
        <a:solidFill>
          <a:schemeClr val="phClr"/>
        </a:solidFill>
        <a:solidFill>
          <a:schemeClr val="phClr">
            <a:tint val="90000"/>
            <a:shade val="97000"/>
            <a:satMod val="130000"/>
          </a:schemeClr>
        </a:solidFill>
        <a:gradFill rotWithShape="1">
          <a:gsLst>
            <a:gs pos="0">
              <a:schemeClr val="phClr">
                <a:tint val="96000"/>
                <a:shade val="99000"/>
                <a:satMod val="140000"/>
              </a:schemeClr>
            </a:gs>
            <a:gs pos="65000">
              <a:schemeClr val="phClr">
                <a:tint val="100000"/>
                <a:shade val="80000"/>
                <a:satMod val="130000"/>
              </a:schemeClr>
            </a:gs>
            <a:gs pos="100000">
              <a:schemeClr val="phClr">
                <a:tint val="100000"/>
                <a:shade val="48000"/>
                <a:satMod val="120000"/>
              </a:schemeClr>
            </a:gs>
          </a:gsLst>
          <a:lin ang="162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Шаблон_РГ_суша_А4_рус_v1702.potx" id="{C6758D95-D1ED-4A2A-B784-938EE1A847A3}" vid="{D37DFF28-38A7-425C-8128-84F2531167E5}"/>
    </a:ext>
  </a:extLst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857</TotalTime>
  <Words>500</Words>
  <Application>Microsoft Office PowerPoint</Application>
  <PresentationFormat>Широкоэкранный</PresentationFormat>
  <Paragraphs>209</Paragraphs>
  <Slides>16</Slides>
  <Notes>15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10</vt:i4>
      </vt:variant>
      <vt:variant>
        <vt:lpstr>Тема</vt:lpstr>
      </vt:variant>
      <vt:variant>
        <vt:i4>2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6</vt:i4>
      </vt:variant>
    </vt:vector>
  </HeadingPairs>
  <TitlesOfParts>
    <vt:vector size="29" baseType="lpstr">
      <vt:lpstr>Arial</vt:lpstr>
      <vt:lpstr>Calibri</vt:lpstr>
      <vt:lpstr>Calibri Light</vt:lpstr>
      <vt:lpstr>Candara</vt:lpstr>
      <vt:lpstr>Georgia</vt:lpstr>
      <vt:lpstr>Helvetica</vt:lpstr>
      <vt:lpstr>Open Sans</vt:lpstr>
      <vt:lpstr>Symbol</vt:lpstr>
      <vt:lpstr>Titillium Web</vt:lpstr>
      <vt:lpstr>Wingdings</vt:lpstr>
      <vt:lpstr>Тема Office</vt:lpstr>
      <vt:lpstr>1_Ретро</vt:lpstr>
      <vt:lpstr>Слайд think-cell</vt:lpstr>
      <vt:lpstr>Презентация PowerPoint</vt:lpstr>
      <vt:lpstr>Презентация PowerPoint</vt:lpstr>
      <vt:lpstr>Презентация PowerPoint</vt:lpstr>
      <vt:lpstr>Презентация PowerPoint</vt:lpstr>
      <vt:lpstr>Что пришлось кардинально поменять</vt:lpstr>
      <vt:lpstr>Что помогло реализовать проект за 1 год</vt:lpstr>
      <vt:lpstr>Что помогло реализовать проект за 1 год</vt:lpstr>
      <vt:lpstr>Результаты проекта: Для Холдинга в целом </vt:lpstr>
      <vt:lpstr>Результаты проекта: Для Управляющей компании </vt:lpstr>
      <vt:lpstr>Результаты проекта: Для ДЗО  </vt:lpstr>
      <vt:lpstr>Результаты проекта в примерах</vt:lpstr>
      <vt:lpstr>Информационный ландшафт</vt:lpstr>
      <vt:lpstr>Платежный процесс в 1С:УХ</vt:lpstr>
      <vt:lpstr>Ролевая модель в 1С:УХ (матрица ролей) </vt:lpstr>
      <vt:lpstr>Что нравится в 1С УХ</vt:lpstr>
      <vt:lpstr>Над чем еще работать</vt:lpstr>
    </vt:vector>
  </TitlesOfParts>
  <Company>АО "РОСГЕЛОГИЯ"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Скорнякова Светлана Борисовна</dc:creator>
  <cp:lastModifiedBy>Kamenetskii</cp:lastModifiedBy>
  <cp:revision>111</cp:revision>
  <dcterms:created xsi:type="dcterms:W3CDTF">2022-10-24T09:52:59Z</dcterms:created>
  <dcterms:modified xsi:type="dcterms:W3CDTF">2022-10-26T10:12:19Z</dcterms:modified>
</cp:coreProperties>
</file>